
<file path=[Content_Types].xml><?xml version="1.0" encoding="utf-8"?>
<Types xmlns="http://schemas.openxmlformats.org/package/2006/content-types"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8" r:id="rId2"/>
    <p:sldId id="364" r:id="rId3"/>
    <p:sldId id="374" r:id="rId4"/>
    <p:sldId id="381" r:id="rId5"/>
    <p:sldId id="380" r:id="rId6"/>
    <p:sldId id="367" r:id="rId7"/>
    <p:sldId id="376" r:id="rId8"/>
    <p:sldId id="377" r:id="rId9"/>
    <p:sldId id="378" r:id="rId10"/>
    <p:sldId id="379" r:id="rId11"/>
    <p:sldId id="366" r:id="rId12"/>
    <p:sldId id="369" r:id="rId13"/>
    <p:sldId id="375" r:id="rId14"/>
    <p:sldId id="370" r:id="rId15"/>
    <p:sldId id="371" r:id="rId16"/>
    <p:sldId id="373" r:id="rId17"/>
  </p:sldIdLst>
  <p:sldSz cx="12192000" cy="6858000"/>
  <p:notesSz cx="6799263" cy="9929813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4"/>
            <p14:sldId id="374"/>
            <p14:sldId id="381"/>
            <p14:sldId id="380"/>
            <p14:sldId id="367"/>
            <p14:sldId id="376"/>
            <p14:sldId id="377"/>
            <p14:sldId id="378"/>
            <p14:sldId id="379"/>
            <p14:sldId id="366"/>
            <p14:sldId id="369"/>
            <p14:sldId id="375"/>
            <p14:sldId id="370"/>
            <p14:sldId id="371"/>
            <p14:sldId id="3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83137" autoAdjust="0"/>
  </p:normalViewPr>
  <p:slideViewPr>
    <p:cSldViewPr snapToObjects="1">
      <p:cViewPr varScale="1">
        <p:scale>
          <a:sx n="68" d="100"/>
          <a:sy n="68" d="100"/>
        </p:scale>
        <p:origin x="1253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D71386-D196-489B-851D-0291A2892E1D}" type="doc">
      <dgm:prSet loTypeId="urn:microsoft.com/office/officeart/2005/8/layout/hierarchy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3C3C3C-F611-414B-BF61-E0FFD73F073C}">
      <dgm:prSet phldrT="[Text]" custT="1"/>
      <dgm:spPr/>
      <dgm:t>
        <a:bodyPr/>
        <a:lstStyle/>
        <a:p>
          <a:r>
            <a:rPr lang="de-DE" sz="2400" dirty="0"/>
            <a:t>Non-</a:t>
          </a:r>
          <a:r>
            <a:rPr lang="de-DE" sz="2400" dirty="0" err="1"/>
            <a:t>behavior</a:t>
          </a:r>
          <a:r>
            <a:rPr lang="de-DE" sz="2400" dirty="0"/>
            <a:t>-</a:t>
          </a:r>
          <a:r>
            <a:rPr lang="de-DE" sz="2400" dirty="0" err="1"/>
            <a:t>based</a:t>
          </a:r>
          <a:r>
            <a:rPr lang="de-DE" sz="2400" dirty="0"/>
            <a:t> Data</a:t>
          </a:r>
        </a:p>
      </dgm:t>
    </dgm:pt>
    <dgm:pt modelId="{700E2535-D8CE-478F-A666-AAA39DF832DF}" type="parTrans" cxnId="{58B6B32F-73E7-4DF9-83F1-DD2733B6BEB9}">
      <dgm:prSet/>
      <dgm:spPr/>
      <dgm:t>
        <a:bodyPr/>
        <a:lstStyle/>
        <a:p>
          <a:endParaRPr lang="de-DE"/>
        </a:p>
      </dgm:t>
    </dgm:pt>
    <dgm:pt modelId="{221087AF-577D-4B54-914B-37EA4F77D426}" type="sibTrans" cxnId="{58B6B32F-73E7-4DF9-83F1-DD2733B6BEB9}">
      <dgm:prSet/>
      <dgm:spPr/>
      <dgm:t>
        <a:bodyPr/>
        <a:lstStyle/>
        <a:p>
          <a:endParaRPr lang="de-DE"/>
        </a:p>
      </dgm:t>
    </dgm:pt>
    <dgm:pt modelId="{F6C14840-5074-4355-B42B-C2764572BA0A}">
      <dgm:prSet phldrT="[Text]" custT="1"/>
      <dgm:spPr/>
      <dgm:t>
        <a:bodyPr/>
        <a:lstStyle/>
        <a:p>
          <a:r>
            <a:rPr lang="de-DE" sz="1800" dirty="0"/>
            <a:t>Historical Power Load</a:t>
          </a:r>
        </a:p>
      </dgm:t>
    </dgm:pt>
    <dgm:pt modelId="{C192F52E-94AD-4393-BC18-BDFABCB9F947}" type="parTrans" cxnId="{7698D7CA-D801-4E2E-8B14-87B7DF9F5BF2}">
      <dgm:prSet/>
      <dgm:spPr/>
      <dgm:t>
        <a:bodyPr/>
        <a:lstStyle/>
        <a:p>
          <a:endParaRPr lang="de-DE"/>
        </a:p>
      </dgm:t>
    </dgm:pt>
    <dgm:pt modelId="{20F23412-D829-40D4-804F-411BB93F4D02}" type="sibTrans" cxnId="{7698D7CA-D801-4E2E-8B14-87B7DF9F5BF2}">
      <dgm:prSet/>
      <dgm:spPr/>
      <dgm:t>
        <a:bodyPr/>
        <a:lstStyle/>
        <a:p>
          <a:endParaRPr lang="de-DE"/>
        </a:p>
      </dgm:t>
    </dgm:pt>
    <dgm:pt modelId="{5FBA1369-2331-4A1F-BE0A-F4D68778C445}">
      <dgm:prSet phldrT="[Text]" custT="1"/>
      <dgm:spPr/>
      <dgm:t>
        <a:bodyPr/>
        <a:lstStyle/>
        <a:p>
          <a:r>
            <a:rPr lang="de-DE" sz="1800" dirty="0" err="1"/>
            <a:t>Weather</a:t>
          </a:r>
          <a:endParaRPr lang="de-DE" sz="1800" dirty="0"/>
        </a:p>
      </dgm:t>
    </dgm:pt>
    <dgm:pt modelId="{8048716F-EE47-46F7-A396-99F0E8D0A74C}" type="parTrans" cxnId="{98837725-02CF-4DBE-B492-D2E96D710968}">
      <dgm:prSet/>
      <dgm:spPr/>
      <dgm:t>
        <a:bodyPr/>
        <a:lstStyle/>
        <a:p>
          <a:endParaRPr lang="de-DE"/>
        </a:p>
      </dgm:t>
    </dgm:pt>
    <dgm:pt modelId="{31846A6E-F87D-49A1-8222-0CAC27860ED2}" type="sibTrans" cxnId="{98837725-02CF-4DBE-B492-D2E96D710968}">
      <dgm:prSet/>
      <dgm:spPr/>
      <dgm:t>
        <a:bodyPr/>
        <a:lstStyle/>
        <a:p>
          <a:endParaRPr lang="de-DE"/>
        </a:p>
      </dgm:t>
    </dgm:pt>
    <dgm:pt modelId="{D55E9D23-2DE9-4B67-9045-773B60EF46E6}">
      <dgm:prSet phldrT="[Text]" custT="1"/>
      <dgm:spPr/>
      <dgm:t>
        <a:bodyPr/>
        <a:lstStyle/>
        <a:p>
          <a:r>
            <a:rPr lang="de-DE" sz="2400" dirty="0" err="1"/>
            <a:t>Behavior-based</a:t>
          </a:r>
          <a:r>
            <a:rPr lang="de-DE" sz="2400" dirty="0"/>
            <a:t> Data</a:t>
          </a:r>
        </a:p>
      </dgm:t>
    </dgm:pt>
    <dgm:pt modelId="{594A3BDD-17AD-41E8-ABD0-E9C713C4702A}" type="parTrans" cxnId="{F9F223E7-2A06-4AD0-87A2-E9D59ED97189}">
      <dgm:prSet/>
      <dgm:spPr/>
      <dgm:t>
        <a:bodyPr/>
        <a:lstStyle/>
        <a:p>
          <a:endParaRPr lang="de-DE"/>
        </a:p>
      </dgm:t>
    </dgm:pt>
    <dgm:pt modelId="{7EA15785-CBFB-4F03-B5A8-F58A6C05AFA2}" type="sibTrans" cxnId="{F9F223E7-2A06-4AD0-87A2-E9D59ED97189}">
      <dgm:prSet/>
      <dgm:spPr/>
      <dgm:t>
        <a:bodyPr/>
        <a:lstStyle/>
        <a:p>
          <a:endParaRPr lang="de-DE"/>
        </a:p>
      </dgm:t>
    </dgm:pt>
    <dgm:pt modelId="{313BCEF7-D569-49F5-A92B-DDF6F815B78F}">
      <dgm:prSet phldrT="[Text]" custT="1"/>
      <dgm:spPr/>
      <dgm:t>
        <a:bodyPr/>
        <a:lstStyle/>
        <a:p>
          <a:r>
            <a:rPr lang="de-DE" sz="1800" dirty="0" err="1"/>
            <a:t>Social</a:t>
          </a:r>
          <a:r>
            <a:rPr lang="de-DE" sz="1800" dirty="0"/>
            <a:t> </a:t>
          </a:r>
          <a:r>
            <a:rPr lang="de-DE" sz="1800" dirty="0" err="1"/>
            <a:t>media</a:t>
          </a:r>
          <a:endParaRPr lang="de-DE" sz="1800" dirty="0"/>
        </a:p>
      </dgm:t>
    </dgm:pt>
    <dgm:pt modelId="{C5B4FC55-7686-407C-BDE9-12405A7EE274}" type="parTrans" cxnId="{8B30F5C9-DE40-4195-B254-A087E55D72A0}">
      <dgm:prSet/>
      <dgm:spPr/>
      <dgm:t>
        <a:bodyPr/>
        <a:lstStyle/>
        <a:p>
          <a:endParaRPr lang="de-DE"/>
        </a:p>
      </dgm:t>
    </dgm:pt>
    <dgm:pt modelId="{0352A304-B68D-42A7-9182-988CF3E411BB}" type="sibTrans" cxnId="{8B30F5C9-DE40-4195-B254-A087E55D72A0}">
      <dgm:prSet/>
      <dgm:spPr/>
      <dgm:t>
        <a:bodyPr/>
        <a:lstStyle/>
        <a:p>
          <a:endParaRPr lang="de-DE"/>
        </a:p>
      </dgm:t>
    </dgm:pt>
    <dgm:pt modelId="{21AC2DB4-D39C-43FB-ABD4-A84B4129CA17}">
      <dgm:prSet phldrT="[Text]" custT="1"/>
      <dgm:spPr/>
      <dgm:t>
        <a:bodyPr/>
        <a:lstStyle/>
        <a:p>
          <a:r>
            <a:rPr lang="de-DE" sz="1800" dirty="0"/>
            <a:t>Traffic</a:t>
          </a:r>
        </a:p>
      </dgm:t>
    </dgm:pt>
    <dgm:pt modelId="{C65FE4C4-D791-4184-BEDD-B76B52ECA0EC}" type="parTrans" cxnId="{72243924-9E31-4AF6-B2C2-98A90864DE7E}">
      <dgm:prSet/>
      <dgm:spPr/>
      <dgm:t>
        <a:bodyPr/>
        <a:lstStyle/>
        <a:p>
          <a:endParaRPr lang="de-DE"/>
        </a:p>
      </dgm:t>
    </dgm:pt>
    <dgm:pt modelId="{0D85EF6B-7F2E-465A-8775-C4469F73F509}" type="sibTrans" cxnId="{72243924-9E31-4AF6-B2C2-98A90864DE7E}">
      <dgm:prSet/>
      <dgm:spPr/>
      <dgm:t>
        <a:bodyPr/>
        <a:lstStyle/>
        <a:p>
          <a:endParaRPr lang="de-DE"/>
        </a:p>
      </dgm:t>
    </dgm:pt>
    <dgm:pt modelId="{B4C18223-ABD7-487F-9A8C-B7FA2FEFEBD2}">
      <dgm:prSet phldrT="[Text]" custT="1"/>
      <dgm:spPr/>
      <dgm:t>
        <a:bodyPr/>
        <a:lstStyle/>
        <a:p>
          <a:r>
            <a:rPr lang="de-DE" sz="1800" dirty="0"/>
            <a:t>Time</a:t>
          </a:r>
        </a:p>
      </dgm:t>
    </dgm:pt>
    <dgm:pt modelId="{099FD095-594F-4BA6-9A5F-0AD1D5CF4148}" type="parTrans" cxnId="{96AAF3CC-C06B-4581-ADCA-EDD2953259D7}">
      <dgm:prSet/>
      <dgm:spPr/>
      <dgm:t>
        <a:bodyPr/>
        <a:lstStyle/>
        <a:p>
          <a:endParaRPr lang="de-DE"/>
        </a:p>
      </dgm:t>
    </dgm:pt>
    <dgm:pt modelId="{8CFA52D9-38C0-4495-B3BF-DB028095A5AF}" type="sibTrans" cxnId="{96AAF3CC-C06B-4581-ADCA-EDD2953259D7}">
      <dgm:prSet/>
      <dgm:spPr/>
      <dgm:t>
        <a:bodyPr/>
        <a:lstStyle/>
        <a:p>
          <a:endParaRPr lang="de-DE"/>
        </a:p>
      </dgm:t>
    </dgm:pt>
    <dgm:pt modelId="{9E7ADED5-E7AF-4650-8C0E-0B7E8FB4FEAD}">
      <dgm:prSet phldrT="[Text]" custT="1"/>
      <dgm:spPr/>
      <dgm:t>
        <a:bodyPr/>
        <a:lstStyle/>
        <a:p>
          <a:r>
            <a:rPr lang="de-DE" sz="1800" dirty="0" err="1"/>
            <a:t>Satellite</a:t>
          </a:r>
          <a:r>
            <a:rPr lang="de-DE" sz="1800" dirty="0"/>
            <a:t> Images</a:t>
          </a:r>
        </a:p>
      </dgm:t>
    </dgm:pt>
    <dgm:pt modelId="{A45CA4A0-D2A7-41CE-817B-E5F1CBE91EE6}" type="parTrans" cxnId="{1439AC05-5F9F-4F67-949A-02D1520F8AE0}">
      <dgm:prSet/>
      <dgm:spPr/>
      <dgm:t>
        <a:bodyPr/>
        <a:lstStyle/>
        <a:p>
          <a:endParaRPr lang="de-DE"/>
        </a:p>
      </dgm:t>
    </dgm:pt>
    <dgm:pt modelId="{08BF86C6-66FF-4E28-82DF-D23B138E7389}" type="sibTrans" cxnId="{1439AC05-5F9F-4F67-949A-02D1520F8AE0}">
      <dgm:prSet/>
      <dgm:spPr/>
      <dgm:t>
        <a:bodyPr/>
        <a:lstStyle/>
        <a:p>
          <a:endParaRPr lang="de-DE"/>
        </a:p>
      </dgm:t>
    </dgm:pt>
    <dgm:pt modelId="{419ECA19-D289-46D2-AF4D-AA1B2E341965}">
      <dgm:prSet phldrT="[Text]" custT="1"/>
      <dgm:spPr/>
      <dgm:t>
        <a:bodyPr/>
        <a:lstStyle/>
        <a:p>
          <a:r>
            <a:rPr lang="de-DE" sz="1800" dirty="0"/>
            <a:t>…</a:t>
          </a:r>
        </a:p>
      </dgm:t>
    </dgm:pt>
    <dgm:pt modelId="{5E18443A-0AF6-4828-B60E-3BFF4E65287E}" type="parTrans" cxnId="{591A44E2-3B56-4E97-A5CA-D5602269DAB8}">
      <dgm:prSet/>
      <dgm:spPr/>
      <dgm:t>
        <a:bodyPr/>
        <a:lstStyle/>
        <a:p>
          <a:endParaRPr lang="de-DE"/>
        </a:p>
      </dgm:t>
    </dgm:pt>
    <dgm:pt modelId="{2B19B538-4B00-44BE-ACCB-638BAF7B8A88}" type="sibTrans" cxnId="{591A44E2-3B56-4E97-A5CA-D5602269DAB8}">
      <dgm:prSet/>
      <dgm:spPr/>
      <dgm:t>
        <a:bodyPr/>
        <a:lstStyle/>
        <a:p>
          <a:endParaRPr lang="de-DE"/>
        </a:p>
      </dgm:t>
    </dgm:pt>
    <dgm:pt modelId="{F3DD62F8-2160-4D39-A276-AB8BB51486D4}">
      <dgm:prSet phldrT="[Text]" custT="1"/>
      <dgm:spPr/>
      <dgm:t>
        <a:bodyPr/>
        <a:lstStyle/>
        <a:p>
          <a:r>
            <a:rPr lang="de-DE" sz="1800" dirty="0"/>
            <a:t>…</a:t>
          </a:r>
        </a:p>
      </dgm:t>
    </dgm:pt>
    <dgm:pt modelId="{C16820C8-6CCC-487E-B1BF-A8228A7339CE}" type="parTrans" cxnId="{86C6310C-2722-4B69-AC68-A24690196B52}">
      <dgm:prSet/>
      <dgm:spPr/>
      <dgm:t>
        <a:bodyPr/>
        <a:lstStyle/>
        <a:p>
          <a:endParaRPr lang="de-DE"/>
        </a:p>
      </dgm:t>
    </dgm:pt>
    <dgm:pt modelId="{D1F85B7F-CE01-45C3-A09A-10F55D03CAD4}" type="sibTrans" cxnId="{86C6310C-2722-4B69-AC68-A24690196B52}">
      <dgm:prSet/>
      <dgm:spPr/>
      <dgm:t>
        <a:bodyPr/>
        <a:lstStyle/>
        <a:p>
          <a:endParaRPr lang="de-DE"/>
        </a:p>
      </dgm:t>
    </dgm:pt>
    <dgm:pt modelId="{E41289FB-6BF1-495F-83FE-A6E67C10F539}" type="pres">
      <dgm:prSet presAssocID="{FCD71386-D196-489B-851D-0291A2892E1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B5E8F64-D263-4EF9-B3D5-7FD9359D15DB}" type="pres">
      <dgm:prSet presAssocID="{713C3C3C-F611-414B-BF61-E0FFD73F073C}" presName="root" presStyleCnt="0"/>
      <dgm:spPr/>
    </dgm:pt>
    <dgm:pt modelId="{A307C665-F8F3-4251-BA1A-C66B89244E37}" type="pres">
      <dgm:prSet presAssocID="{713C3C3C-F611-414B-BF61-E0FFD73F073C}" presName="rootComposite" presStyleCnt="0"/>
      <dgm:spPr/>
    </dgm:pt>
    <dgm:pt modelId="{20CEE715-3D35-42A0-BE4D-12B172B9F8EA}" type="pres">
      <dgm:prSet presAssocID="{713C3C3C-F611-414B-BF61-E0FFD73F073C}" presName="rootText" presStyleLbl="node1" presStyleIdx="0" presStyleCnt="2" custScaleX="189773" custLinFactNeighborX="-37833" custLinFactNeighborY="-269"/>
      <dgm:spPr/>
    </dgm:pt>
    <dgm:pt modelId="{B2A5B81D-48FE-4908-BF67-66CD968704C6}" type="pres">
      <dgm:prSet presAssocID="{713C3C3C-F611-414B-BF61-E0FFD73F073C}" presName="rootConnector" presStyleLbl="node1" presStyleIdx="0" presStyleCnt="2"/>
      <dgm:spPr/>
    </dgm:pt>
    <dgm:pt modelId="{7CBFE57E-ED23-44D3-A8D3-F868EB40DCCA}" type="pres">
      <dgm:prSet presAssocID="{713C3C3C-F611-414B-BF61-E0FFD73F073C}" presName="childShape" presStyleCnt="0"/>
      <dgm:spPr/>
    </dgm:pt>
    <dgm:pt modelId="{02A0B113-0600-412A-9DC9-0CB4C86240C9}" type="pres">
      <dgm:prSet presAssocID="{C192F52E-94AD-4393-BC18-BDFABCB9F947}" presName="Name13" presStyleLbl="parChTrans1D2" presStyleIdx="0" presStyleCnt="8"/>
      <dgm:spPr/>
    </dgm:pt>
    <dgm:pt modelId="{6756D7FE-4CD0-4330-9990-A1E5CD0430D7}" type="pres">
      <dgm:prSet presAssocID="{F6C14840-5074-4355-B42B-C2764572BA0A}" presName="childText" presStyleLbl="bgAcc1" presStyleIdx="0" presStyleCnt="8" custLinFactNeighborX="-46995" custLinFactNeighborY="-453">
        <dgm:presLayoutVars>
          <dgm:bulletEnabled val="1"/>
        </dgm:presLayoutVars>
      </dgm:prSet>
      <dgm:spPr/>
    </dgm:pt>
    <dgm:pt modelId="{9C1EE911-2B8C-423A-A5C5-C7BE96855221}" type="pres">
      <dgm:prSet presAssocID="{8048716F-EE47-46F7-A396-99F0E8D0A74C}" presName="Name13" presStyleLbl="parChTrans1D2" presStyleIdx="1" presStyleCnt="8"/>
      <dgm:spPr/>
    </dgm:pt>
    <dgm:pt modelId="{56A2AC68-48D6-4A41-8432-5DE28A879A81}" type="pres">
      <dgm:prSet presAssocID="{5FBA1369-2331-4A1F-BE0A-F4D68778C445}" presName="childText" presStyleLbl="bgAcc1" presStyleIdx="1" presStyleCnt="8" custLinFactNeighborX="-46995" custLinFactNeighborY="-681">
        <dgm:presLayoutVars>
          <dgm:bulletEnabled val="1"/>
        </dgm:presLayoutVars>
      </dgm:prSet>
      <dgm:spPr/>
    </dgm:pt>
    <dgm:pt modelId="{58B1074D-0F5C-4728-9218-072CFFBFA7F1}" type="pres">
      <dgm:prSet presAssocID="{099FD095-594F-4BA6-9A5F-0AD1D5CF4148}" presName="Name13" presStyleLbl="parChTrans1D2" presStyleIdx="2" presStyleCnt="8"/>
      <dgm:spPr/>
    </dgm:pt>
    <dgm:pt modelId="{AEF9AC03-0D36-4876-87D2-7AAFB54A0227}" type="pres">
      <dgm:prSet presAssocID="{B4C18223-ABD7-487F-9A8C-B7FA2FEFEBD2}" presName="childText" presStyleLbl="bgAcc1" presStyleIdx="2" presStyleCnt="8" custLinFactNeighborX="-48975" custLinFactNeighborY="-2961">
        <dgm:presLayoutVars>
          <dgm:bulletEnabled val="1"/>
        </dgm:presLayoutVars>
      </dgm:prSet>
      <dgm:spPr/>
    </dgm:pt>
    <dgm:pt modelId="{791D703C-F533-4BAF-BDE8-DD51435A86B4}" type="pres">
      <dgm:prSet presAssocID="{5E18443A-0AF6-4828-B60E-3BFF4E65287E}" presName="Name13" presStyleLbl="parChTrans1D2" presStyleIdx="3" presStyleCnt="8"/>
      <dgm:spPr/>
    </dgm:pt>
    <dgm:pt modelId="{5997D142-ED57-4FC5-BE61-92C7A3297D8E}" type="pres">
      <dgm:prSet presAssocID="{419ECA19-D289-46D2-AF4D-AA1B2E341965}" presName="childText" presStyleLbl="bgAcc1" presStyleIdx="3" presStyleCnt="8" custLinFactNeighborX="-49078" custLinFactNeighborY="293">
        <dgm:presLayoutVars>
          <dgm:bulletEnabled val="1"/>
        </dgm:presLayoutVars>
      </dgm:prSet>
      <dgm:spPr/>
    </dgm:pt>
    <dgm:pt modelId="{59BC4CD8-323C-460A-BF72-B1D223CD1D61}" type="pres">
      <dgm:prSet presAssocID="{D55E9D23-2DE9-4B67-9045-773B60EF46E6}" presName="root" presStyleCnt="0"/>
      <dgm:spPr/>
    </dgm:pt>
    <dgm:pt modelId="{20323607-F3A1-4040-B0C5-B90B906D0311}" type="pres">
      <dgm:prSet presAssocID="{D55E9D23-2DE9-4B67-9045-773B60EF46E6}" presName="rootComposite" presStyleCnt="0"/>
      <dgm:spPr/>
    </dgm:pt>
    <dgm:pt modelId="{2A66DC7D-BDF3-4751-A4D3-67EB48BAAC5F}" type="pres">
      <dgm:prSet presAssocID="{D55E9D23-2DE9-4B67-9045-773B60EF46E6}" presName="rootText" presStyleLbl="node1" presStyleIdx="1" presStyleCnt="2" custScaleX="192065"/>
      <dgm:spPr/>
    </dgm:pt>
    <dgm:pt modelId="{CA045228-FC7A-4F5A-BD5D-45ED003D626F}" type="pres">
      <dgm:prSet presAssocID="{D55E9D23-2DE9-4B67-9045-773B60EF46E6}" presName="rootConnector" presStyleLbl="node1" presStyleIdx="1" presStyleCnt="2"/>
      <dgm:spPr/>
    </dgm:pt>
    <dgm:pt modelId="{96DB5CE5-87B0-4F61-93B6-D656451952F4}" type="pres">
      <dgm:prSet presAssocID="{D55E9D23-2DE9-4B67-9045-773B60EF46E6}" presName="childShape" presStyleCnt="0"/>
      <dgm:spPr/>
    </dgm:pt>
    <dgm:pt modelId="{0B6E15B1-D3C4-4A12-B25D-F82ADEC64178}" type="pres">
      <dgm:prSet presAssocID="{C5B4FC55-7686-407C-BDE9-12405A7EE274}" presName="Name13" presStyleLbl="parChTrans1D2" presStyleIdx="4" presStyleCnt="8"/>
      <dgm:spPr/>
    </dgm:pt>
    <dgm:pt modelId="{695D0167-DA06-4F35-9C5E-88498FC32FA8}" type="pres">
      <dgm:prSet presAssocID="{313BCEF7-D569-49F5-A92B-DDF6F815B78F}" presName="childText" presStyleLbl="bgAcc1" presStyleIdx="4" presStyleCnt="8">
        <dgm:presLayoutVars>
          <dgm:bulletEnabled val="1"/>
        </dgm:presLayoutVars>
      </dgm:prSet>
      <dgm:spPr/>
    </dgm:pt>
    <dgm:pt modelId="{7E23E5B5-1E1E-49B5-BFA5-9B1ACC15D04D}" type="pres">
      <dgm:prSet presAssocID="{C65FE4C4-D791-4184-BEDD-B76B52ECA0EC}" presName="Name13" presStyleLbl="parChTrans1D2" presStyleIdx="5" presStyleCnt="8"/>
      <dgm:spPr/>
    </dgm:pt>
    <dgm:pt modelId="{83F77979-CE46-4054-805F-949D8C4BCAA5}" type="pres">
      <dgm:prSet presAssocID="{21AC2DB4-D39C-43FB-ABD4-A84B4129CA17}" presName="childText" presStyleLbl="bgAcc1" presStyleIdx="5" presStyleCnt="8">
        <dgm:presLayoutVars>
          <dgm:bulletEnabled val="1"/>
        </dgm:presLayoutVars>
      </dgm:prSet>
      <dgm:spPr/>
    </dgm:pt>
    <dgm:pt modelId="{87930022-88E2-4A7E-ACFE-72E10DAC527A}" type="pres">
      <dgm:prSet presAssocID="{A45CA4A0-D2A7-41CE-817B-E5F1CBE91EE6}" presName="Name13" presStyleLbl="parChTrans1D2" presStyleIdx="6" presStyleCnt="8"/>
      <dgm:spPr/>
    </dgm:pt>
    <dgm:pt modelId="{10A2390F-D011-4118-A24E-F0202DA7334E}" type="pres">
      <dgm:prSet presAssocID="{9E7ADED5-E7AF-4650-8C0E-0B7E8FB4FEAD}" presName="childText" presStyleLbl="bgAcc1" presStyleIdx="6" presStyleCnt="8">
        <dgm:presLayoutVars>
          <dgm:bulletEnabled val="1"/>
        </dgm:presLayoutVars>
      </dgm:prSet>
      <dgm:spPr/>
    </dgm:pt>
    <dgm:pt modelId="{841635B0-FB7E-4A9A-A2CC-233E088B1FF5}" type="pres">
      <dgm:prSet presAssocID="{C16820C8-6CCC-487E-B1BF-A8228A7339CE}" presName="Name13" presStyleLbl="parChTrans1D2" presStyleIdx="7" presStyleCnt="8"/>
      <dgm:spPr/>
    </dgm:pt>
    <dgm:pt modelId="{06B60F2A-84B1-468E-84E8-0CD800D9891F}" type="pres">
      <dgm:prSet presAssocID="{F3DD62F8-2160-4D39-A276-AB8BB51486D4}" presName="childText" presStyleLbl="bgAcc1" presStyleIdx="7" presStyleCnt="8">
        <dgm:presLayoutVars>
          <dgm:bulletEnabled val="1"/>
        </dgm:presLayoutVars>
      </dgm:prSet>
      <dgm:spPr/>
    </dgm:pt>
  </dgm:ptLst>
  <dgm:cxnLst>
    <dgm:cxn modelId="{2C7C5D00-3318-4B3D-A50F-46AE55035DC6}" type="presOf" srcId="{21AC2DB4-D39C-43FB-ABD4-A84B4129CA17}" destId="{83F77979-CE46-4054-805F-949D8C4BCAA5}" srcOrd="0" destOrd="0" presId="urn:microsoft.com/office/officeart/2005/8/layout/hierarchy3"/>
    <dgm:cxn modelId="{1439AC05-5F9F-4F67-949A-02D1520F8AE0}" srcId="{D55E9D23-2DE9-4B67-9045-773B60EF46E6}" destId="{9E7ADED5-E7AF-4650-8C0E-0B7E8FB4FEAD}" srcOrd="2" destOrd="0" parTransId="{A45CA4A0-D2A7-41CE-817B-E5F1CBE91EE6}" sibTransId="{08BF86C6-66FF-4E28-82DF-D23B138E7389}"/>
    <dgm:cxn modelId="{86C6310C-2722-4B69-AC68-A24690196B52}" srcId="{D55E9D23-2DE9-4B67-9045-773B60EF46E6}" destId="{F3DD62F8-2160-4D39-A276-AB8BB51486D4}" srcOrd="3" destOrd="0" parTransId="{C16820C8-6CCC-487E-B1BF-A8228A7339CE}" sibTransId="{D1F85B7F-CE01-45C3-A09A-10F55D03CAD4}"/>
    <dgm:cxn modelId="{50E84310-5DAC-47CD-A864-07FF07F44620}" type="presOf" srcId="{9E7ADED5-E7AF-4650-8C0E-0B7E8FB4FEAD}" destId="{10A2390F-D011-4118-A24E-F0202DA7334E}" srcOrd="0" destOrd="0" presId="urn:microsoft.com/office/officeart/2005/8/layout/hierarchy3"/>
    <dgm:cxn modelId="{72243924-9E31-4AF6-B2C2-98A90864DE7E}" srcId="{D55E9D23-2DE9-4B67-9045-773B60EF46E6}" destId="{21AC2DB4-D39C-43FB-ABD4-A84B4129CA17}" srcOrd="1" destOrd="0" parTransId="{C65FE4C4-D791-4184-BEDD-B76B52ECA0EC}" sibTransId="{0D85EF6B-7F2E-465A-8775-C4469F73F509}"/>
    <dgm:cxn modelId="{98837725-02CF-4DBE-B492-D2E96D710968}" srcId="{713C3C3C-F611-414B-BF61-E0FFD73F073C}" destId="{5FBA1369-2331-4A1F-BE0A-F4D68778C445}" srcOrd="1" destOrd="0" parTransId="{8048716F-EE47-46F7-A396-99F0E8D0A74C}" sibTransId="{31846A6E-F87D-49A1-8222-0CAC27860ED2}"/>
    <dgm:cxn modelId="{58B6B32F-73E7-4DF9-83F1-DD2733B6BEB9}" srcId="{FCD71386-D196-489B-851D-0291A2892E1D}" destId="{713C3C3C-F611-414B-BF61-E0FFD73F073C}" srcOrd="0" destOrd="0" parTransId="{700E2535-D8CE-478F-A666-AAA39DF832DF}" sibTransId="{221087AF-577D-4B54-914B-37EA4F77D426}"/>
    <dgm:cxn modelId="{5B24CB36-4DEF-459B-8F34-CDEE14FBB83E}" type="presOf" srcId="{FCD71386-D196-489B-851D-0291A2892E1D}" destId="{E41289FB-6BF1-495F-83FE-A6E67C10F539}" srcOrd="0" destOrd="0" presId="urn:microsoft.com/office/officeart/2005/8/layout/hierarchy3"/>
    <dgm:cxn modelId="{34B95C37-B01E-4F3B-AE13-205F5639E814}" type="presOf" srcId="{C65FE4C4-D791-4184-BEDD-B76B52ECA0EC}" destId="{7E23E5B5-1E1E-49B5-BFA5-9B1ACC15D04D}" srcOrd="0" destOrd="0" presId="urn:microsoft.com/office/officeart/2005/8/layout/hierarchy3"/>
    <dgm:cxn modelId="{43BD643B-3FB9-43E4-AABA-920E1FC76438}" type="presOf" srcId="{313BCEF7-D569-49F5-A92B-DDF6F815B78F}" destId="{695D0167-DA06-4F35-9C5E-88498FC32FA8}" srcOrd="0" destOrd="0" presId="urn:microsoft.com/office/officeart/2005/8/layout/hierarchy3"/>
    <dgm:cxn modelId="{0DD6C43F-02A8-4002-91ED-DB80F9686D41}" type="presOf" srcId="{419ECA19-D289-46D2-AF4D-AA1B2E341965}" destId="{5997D142-ED57-4FC5-BE61-92C7A3297D8E}" srcOrd="0" destOrd="0" presId="urn:microsoft.com/office/officeart/2005/8/layout/hierarchy3"/>
    <dgm:cxn modelId="{0CE0ED62-D5BD-4269-A00D-F3C23320B8D8}" type="presOf" srcId="{F3DD62F8-2160-4D39-A276-AB8BB51486D4}" destId="{06B60F2A-84B1-468E-84E8-0CD800D9891F}" srcOrd="0" destOrd="0" presId="urn:microsoft.com/office/officeart/2005/8/layout/hierarchy3"/>
    <dgm:cxn modelId="{E08DC04E-EDEA-46BD-B215-C7FE4CC80F14}" type="presOf" srcId="{C5B4FC55-7686-407C-BDE9-12405A7EE274}" destId="{0B6E15B1-D3C4-4A12-B25D-F82ADEC64178}" srcOrd="0" destOrd="0" presId="urn:microsoft.com/office/officeart/2005/8/layout/hierarchy3"/>
    <dgm:cxn modelId="{BE757871-423F-49E9-A14E-DD1EA6647704}" type="presOf" srcId="{D55E9D23-2DE9-4B67-9045-773B60EF46E6}" destId="{CA045228-FC7A-4F5A-BD5D-45ED003D626F}" srcOrd="1" destOrd="0" presId="urn:microsoft.com/office/officeart/2005/8/layout/hierarchy3"/>
    <dgm:cxn modelId="{2E42FD73-BF81-42FB-A5FD-A499A3351F75}" type="presOf" srcId="{D55E9D23-2DE9-4B67-9045-773B60EF46E6}" destId="{2A66DC7D-BDF3-4751-A4D3-67EB48BAAC5F}" srcOrd="0" destOrd="0" presId="urn:microsoft.com/office/officeart/2005/8/layout/hierarchy3"/>
    <dgm:cxn modelId="{8FA66575-D554-421F-83F3-05367D95CD7E}" type="presOf" srcId="{713C3C3C-F611-414B-BF61-E0FFD73F073C}" destId="{B2A5B81D-48FE-4908-BF67-66CD968704C6}" srcOrd="1" destOrd="0" presId="urn:microsoft.com/office/officeart/2005/8/layout/hierarchy3"/>
    <dgm:cxn modelId="{B25E9877-1A38-4E5D-AB07-B88A641E94AD}" type="presOf" srcId="{B4C18223-ABD7-487F-9A8C-B7FA2FEFEBD2}" destId="{AEF9AC03-0D36-4876-87D2-7AAFB54A0227}" srcOrd="0" destOrd="0" presId="urn:microsoft.com/office/officeart/2005/8/layout/hierarchy3"/>
    <dgm:cxn modelId="{C0E04E58-3C3B-4DE1-97D3-F9ED44204F05}" type="presOf" srcId="{099FD095-594F-4BA6-9A5F-0AD1D5CF4148}" destId="{58B1074D-0F5C-4728-9218-072CFFBFA7F1}" srcOrd="0" destOrd="0" presId="urn:microsoft.com/office/officeart/2005/8/layout/hierarchy3"/>
    <dgm:cxn modelId="{EAEBB27D-0A8F-4AEA-AC35-5389700F180A}" type="presOf" srcId="{5E18443A-0AF6-4828-B60E-3BFF4E65287E}" destId="{791D703C-F533-4BAF-BDE8-DD51435A86B4}" srcOrd="0" destOrd="0" presId="urn:microsoft.com/office/officeart/2005/8/layout/hierarchy3"/>
    <dgm:cxn modelId="{15705689-2882-4EF8-86C9-19305F948E8E}" type="presOf" srcId="{8048716F-EE47-46F7-A396-99F0E8D0A74C}" destId="{9C1EE911-2B8C-423A-A5C5-C7BE96855221}" srcOrd="0" destOrd="0" presId="urn:microsoft.com/office/officeart/2005/8/layout/hierarchy3"/>
    <dgm:cxn modelId="{AF9934B3-8E03-4E03-82AF-32D05B602B5F}" type="presOf" srcId="{C192F52E-94AD-4393-BC18-BDFABCB9F947}" destId="{02A0B113-0600-412A-9DC9-0CB4C86240C9}" srcOrd="0" destOrd="0" presId="urn:microsoft.com/office/officeart/2005/8/layout/hierarchy3"/>
    <dgm:cxn modelId="{F70238BE-02E4-49D5-81E9-4430F0D46AEA}" type="presOf" srcId="{F6C14840-5074-4355-B42B-C2764572BA0A}" destId="{6756D7FE-4CD0-4330-9990-A1E5CD0430D7}" srcOrd="0" destOrd="0" presId="urn:microsoft.com/office/officeart/2005/8/layout/hierarchy3"/>
    <dgm:cxn modelId="{472B43C1-0AB1-4632-AF66-BDA8992B129F}" type="presOf" srcId="{C16820C8-6CCC-487E-B1BF-A8228A7339CE}" destId="{841635B0-FB7E-4A9A-A2CC-233E088B1FF5}" srcOrd="0" destOrd="0" presId="urn:microsoft.com/office/officeart/2005/8/layout/hierarchy3"/>
    <dgm:cxn modelId="{8B30F5C9-DE40-4195-B254-A087E55D72A0}" srcId="{D55E9D23-2DE9-4B67-9045-773B60EF46E6}" destId="{313BCEF7-D569-49F5-A92B-DDF6F815B78F}" srcOrd="0" destOrd="0" parTransId="{C5B4FC55-7686-407C-BDE9-12405A7EE274}" sibTransId="{0352A304-B68D-42A7-9182-988CF3E411BB}"/>
    <dgm:cxn modelId="{7698D7CA-D801-4E2E-8B14-87B7DF9F5BF2}" srcId="{713C3C3C-F611-414B-BF61-E0FFD73F073C}" destId="{F6C14840-5074-4355-B42B-C2764572BA0A}" srcOrd="0" destOrd="0" parTransId="{C192F52E-94AD-4393-BC18-BDFABCB9F947}" sibTransId="{20F23412-D829-40D4-804F-411BB93F4D02}"/>
    <dgm:cxn modelId="{96AAF3CC-C06B-4581-ADCA-EDD2953259D7}" srcId="{713C3C3C-F611-414B-BF61-E0FFD73F073C}" destId="{B4C18223-ABD7-487F-9A8C-B7FA2FEFEBD2}" srcOrd="2" destOrd="0" parTransId="{099FD095-594F-4BA6-9A5F-0AD1D5CF4148}" sibTransId="{8CFA52D9-38C0-4495-B3BF-DB028095A5AF}"/>
    <dgm:cxn modelId="{66E020CE-AECD-49D4-91B7-9B94A65919CA}" type="presOf" srcId="{5FBA1369-2331-4A1F-BE0A-F4D68778C445}" destId="{56A2AC68-48D6-4A41-8432-5DE28A879A81}" srcOrd="0" destOrd="0" presId="urn:microsoft.com/office/officeart/2005/8/layout/hierarchy3"/>
    <dgm:cxn modelId="{97978CD8-F57B-4447-8DEE-B8961E9059A8}" type="presOf" srcId="{713C3C3C-F611-414B-BF61-E0FFD73F073C}" destId="{20CEE715-3D35-42A0-BE4D-12B172B9F8EA}" srcOrd="0" destOrd="0" presId="urn:microsoft.com/office/officeart/2005/8/layout/hierarchy3"/>
    <dgm:cxn modelId="{591A44E2-3B56-4E97-A5CA-D5602269DAB8}" srcId="{713C3C3C-F611-414B-BF61-E0FFD73F073C}" destId="{419ECA19-D289-46D2-AF4D-AA1B2E341965}" srcOrd="3" destOrd="0" parTransId="{5E18443A-0AF6-4828-B60E-3BFF4E65287E}" sibTransId="{2B19B538-4B00-44BE-ACCB-638BAF7B8A88}"/>
    <dgm:cxn modelId="{F9F223E7-2A06-4AD0-87A2-E9D59ED97189}" srcId="{FCD71386-D196-489B-851D-0291A2892E1D}" destId="{D55E9D23-2DE9-4B67-9045-773B60EF46E6}" srcOrd="1" destOrd="0" parTransId="{594A3BDD-17AD-41E8-ABD0-E9C713C4702A}" sibTransId="{7EA15785-CBFB-4F03-B5A8-F58A6C05AFA2}"/>
    <dgm:cxn modelId="{04D2A1F3-F845-4B69-BEB6-E425456F6DE4}" type="presOf" srcId="{A45CA4A0-D2A7-41CE-817B-E5F1CBE91EE6}" destId="{87930022-88E2-4A7E-ACFE-72E10DAC527A}" srcOrd="0" destOrd="0" presId="urn:microsoft.com/office/officeart/2005/8/layout/hierarchy3"/>
    <dgm:cxn modelId="{0E3B4BED-8FFC-4C27-BB79-DCAF87C1F883}" type="presParOf" srcId="{E41289FB-6BF1-495F-83FE-A6E67C10F539}" destId="{5B5E8F64-D263-4EF9-B3D5-7FD9359D15DB}" srcOrd="0" destOrd="0" presId="urn:microsoft.com/office/officeart/2005/8/layout/hierarchy3"/>
    <dgm:cxn modelId="{4484235E-5C76-434B-8984-793936EE5149}" type="presParOf" srcId="{5B5E8F64-D263-4EF9-B3D5-7FD9359D15DB}" destId="{A307C665-F8F3-4251-BA1A-C66B89244E37}" srcOrd="0" destOrd="0" presId="urn:microsoft.com/office/officeart/2005/8/layout/hierarchy3"/>
    <dgm:cxn modelId="{AEEED5B2-D87C-4EBC-9D74-E015F7E0DB4B}" type="presParOf" srcId="{A307C665-F8F3-4251-BA1A-C66B89244E37}" destId="{20CEE715-3D35-42A0-BE4D-12B172B9F8EA}" srcOrd="0" destOrd="0" presId="urn:microsoft.com/office/officeart/2005/8/layout/hierarchy3"/>
    <dgm:cxn modelId="{D66C3109-4D11-4D4F-86ED-985712F5C779}" type="presParOf" srcId="{A307C665-F8F3-4251-BA1A-C66B89244E37}" destId="{B2A5B81D-48FE-4908-BF67-66CD968704C6}" srcOrd="1" destOrd="0" presId="urn:microsoft.com/office/officeart/2005/8/layout/hierarchy3"/>
    <dgm:cxn modelId="{EF8B6743-D580-444B-909D-2C7DCF64A4F1}" type="presParOf" srcId="{5B5E8F64-D263-4EF9-B3D5-7FD9359D15DB}" destId="{7CBFE57E-ED23-44D3-A8D3-F868EB40DCCA}" srcOrd="1" destOrd="0" presId="urn:microsoft.com/office/officeart/2005/8/layout/hierarchy3"/>
    <dgm:cxn modelId="{C9A59680-7781-4C24-9EB6-517A7D955F72}" type="presParOf" srcId="{7CBFE57E-ED23-44D3-A8D3-F868EB40DCCA}" destId="{02A0B113-0600-412A-9DC9-0CB4C86240C9}" srcOrd="0" destOrd="0" presId="urn:microsoft.com/office/officeart/2005/8/layout/hierarchy3"/>
    <dgm:cxn modelId="{8DDBF0CE-0735-439C-AF37-01119DF6AF79}" type="presParOf" srcId="{7CBFE57E-ED23-44D3-A8D3-F868EB40DCCA}" destId="{6756D7FE-4CD0-4330-9990-A1E5CD0430D7}" srcOrd="1" destOrd="0" presId="urn:microsoft.com/office/officeart/2005/8/layout/hierarchy3"/>
    <dgm:cxn modelId="{D2EE23B8-8703-432D-B737-577082C31FBB}" type="presParOf" srcId="{7CBFE57E-ED23-44D3-A8D3-F868EB40DCCA}" destId="{9C1EE911-2B8C-423A-A5C5-C7BE96855221}" srcOrd="2" destOrd="0" presId="urn:microsoft.com/office/officeart/2005/8/layout/hierarchy3"/>
    <dgm:cxn modelId="{F2141C11-C1C8-4CFA-927B-18B662A162C7}" type="presParOf" srcId="{7CBFE57E-ED23-44D3-A8D3-F868EB40DCCA}" destId="{56A2AC68-48D6-4A41-8432-5DE28A879A81}" srcOrd="3" destOrd="0" presId="urn:microsoft.com/office/officeart/2005/8/layout/hierarchy3"/>
    <dgm:cxn modelId="{A08EF033-12A8-4391-93A2-A64957E6B670}" type="presParOf" srcId="{7CBFE57E-ED23-44D3-A8D3-F868EB40DCCA}" destId="{58B1074D-0F5C-4728-9218-072CFFBFA7F1}" srcOrd="4" destOrd="0" presId="urn:microsoft.com/office/officeart/2005/8/layout/hierarchy3"/>
    <dgm:cxn modelId="{70FB6E06-964F-4423-A80A-999DC90A5ED7}" type="presParOf" srcId="{7CBFE57E-ED23-44D3-A8D3-F868EB40DCCA}" destId="{AEF9AC03-0D36-4876-87D2-7AAFB54A0227}" srcOrd="5" destOrd="0" presId="urn:microsoft.com/office/officeart/2005/8/layout/hierarchy3"/>
    <dgm:cxn modelId="{6FD3E1C7-F59A-4E3F-B62F-D8155FDC31E7}" type="presParOf" srcId="{7CBFE57E-ED23-44D3-A8D3-F868EB40DCCA}" destId="{791D703C-F533-4BAF-BDE8-DD51435A86B4}" srcOrd="6" destOrd="0" presId="urn:microsoft.com/office/officeart/2005/8/layout/hierarchy3"/>
    <dgm:cxn modelId="{3B64404F-2DF4-4C3E-82FB-7B85F2F10FBF}" type="presParOf" srcId="{7CBFE57E-ED23-44D3-A8D3-F868EB40DCCA}" destId="{5997D142-ED57-4FC5-BE61-92C7A3297D8E}" srcOrd="7" destOrd="0" presId="urn:microsoft.com/office/officeart/2005/8/layout/hierarchy3"/>
    <dgm:cxn modelId="{332933CE-67D3-4427-8170-3306F131122F}" type="presParOf" srcId="{E41289FB-6BF1-495F-83FE-A6E67C10F539}" destId="{59BC4CD8-323C-460A-BF72-B1D223CD1D61}" srcOrd="1" destOrd="0" presId="urn:microsoft.com/office/officeart/2005/8/layout/hierarchy3"/>
    <dgm:cxn modelId="{DD4E6FE0-5A49-4235-93A8-DAF6D53A9323}" type="presParOf" srcId="{59BC4CD8-323C-460A-BF72-B1D223CD1D61}" destId="{20323607-F3A1-4040-B0C5-B90B906D0311}" srcOrd="0" destOrd="0" presId="urn:microsoft.com/office/officeart/2005/8/layout/hierarchy3"/>
    <dgm:cxn modelId="{BCF5D4FC-04FD-46EA-81AA-8EF51470AF9B}" type="presParOf" srcId="{20323607-F3A1-4040-B0C5-B90B906D0311}" destId="{2A66DC7D-BDF3-4751-A4D3-67EB48BAAC5F}" srcOrd="0" destOrd="0" presId="urn:microsoft.com/office/officeart/2005/8/layout/hierarchy3"/>
    <dgm:cxn modelId="{3968773B-B032-464C-8501-F7FEE6555C1C}" type="presParOf" srcId="{20323607-F3A1-4040-B0C5-B90B906D0311}" destId="{CA045228-FC7A-4F5A-BD5D-45ED003D626F}" srcOrd="1" destOrd="0" presId="urn:microsoft.com/office/officeart/2005/8/layout/hierarchy3"/>
    <dgm:cxn modelId="{3223D5CB-28B4-42A9-AD20-7B50E8581B6B}" type="presParOf" srcId="{59BC4CD8-323C-460A-BF72-B1D223CD1D61}" destId="{96DB5CE5-87B0-4F61-93B6-D656451952F4}" srcOrd="1" destOrd="0" presId="urn:microsoft.com/office/officeart/2005/8/layout/hierarchy3"/>
    <dgm:cxn modelId="{BD13D795-1C85-4CDB-BF24-51867A3E0780}" type="presParOf" srcId="{96DB5CE5-87B0-4F61-93B6-D656451952F4}" destId="{0B6E15B1-D3C4-4A12-B25D-F82ADEC64178}" srcOrd="0" destOrd="0" presId="urn:microsoft.com/office/officeart/2005/8/layout/hierarchy3"/>
    <dgm:cxn modelId="{866581DB-6814-48F9-96CF-7492E4391586}" type="presParOf" srcId="{96DB5CE5-87B0-4F61-93B6-D656451952F4}" destId="{695D0167-DA06-4F35-9C5E-88498FC32FA8}" srcOrd="1" destOrd="0" presId="urn:microsoft.com/office/officeart/2005/8/layout/hierarchy3"/>
    <dgm:cxn modelId="{3F1EFB8A-B954-4908-8812-CBD5494405E2}" type="presParOf" srcId="{96DB5CE5-87B0-4F61-93B6-D656451952F4}" destId="{7E23E5B5-1E1E-49B5-BFA5-9B1ACC15D04D}" srcOrd="2" destOrd="0" presId="urn:microsoft.com/office/officeart/2005/8/layout/hierarchy3"/>
    <dgm:cxn modelId="{9755801C-3A28-41ED-9708-F15F17C8B126}" type="presParOf" srcId="{96DB5CE5-87B0-4F61-93B6-D656451952F4}" destId="{83F77979-CE46-4054-805F-949D8C4BCAA5}" srcOrd="3" destOrd="0" presId="urn:microsoft.com/office/officeart/2005/8/layout/hierarchy3"/>
    <dgm:cxn modelId="{DD57FFDF-B3DE-472F-9929-FBF1D3DF5C24}" type="presParOf" srcId="{96DB5CE5-87B0-4F61-93B6-D656451952F4}" destId="{87930022-88E2-4A7E-ACFE-72E10DAC527A}" srcOrd="4" destOrd="0" presId="urn:microsoft.com/office/officeart/2005/8/layout/hierarchy3"/>
    <dgm:cxn modelId="{F24A8531-004D-45D9-A39A-4002C7F575D2}" type="presParOf" srcId="{96DB5CE5-87B0-4F61-93B6-D656451952F4}" destId="{10A2390F-D011-4118-A24E-F0202DA7334E}" srcOrd="5" destOrd="0" presId="urn:microsoft.com/office/officeart/2005/8/layout/hierarchy3"/>
    <dgm:cxn modelId="{7C962E69-4569-45B5-AA0C-77A5ED9A0132}" type="presParOf" srcId="{96DB5CE5-87B0-4F61-93B6-D656451952F4}" destId="{841635B0-FB7E-4A9A-A2CC-233E088B1FF5}" srcOrd="6" destOrd="0" presId="urn:microsoft.com/office/officeart/2005/8/layout/hierarchy3"/>
    <dgm:cxn modelId="{91CAD8FF-2CF5-4699-843A-5206B05D07F4}" type="presParOf" srcId="{96DB5CE5-87B0-4F61-93B6-D656451952F4}" destId="{06B60F2A-84B1-468E-84E8-0CD800D9891F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0BBA37C-E49C-4BCC-ABDD-3701E4539CD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5CE94F9-D573-496C-8F4A-58CAC04920B9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dirty="0" err="1"/>
            <a:t>Literature</a:t>
          </a:r>
          <a:r>
            <a:rPr lang="de-DE" dirty="0"/>
            <a:t> Research</a:t>
          </a:r>
        </a:p>
      </dgm:t>
    </dgm:pt>
    <dgm:pt modelId="{42D2377C-A205-4A18-9047-DA9DD6966DB0}" type="parTrans" cxnId="{E4EDA5B5-B8B1-48E1-8185-8BADD9483FF4}">
      <dgm:prSet/>
      <dgm:spPr/>
      <dgm:t>
        <a:bodyPr/>
        <a:lstStyle/>
        <a:p>
          <a:endParaRPr lang="de-DE"/>
        </a:p>
      </dgm:t>
    </dgm:pt>
    <dgm:pt modelId="{925EDFBB-BB3C-4E88-823D-CC1D0607EE1B}" type="sibTrans" cxnId="{E4EDA5B5-B8B1-48E1-8185-8BADD9483FF4}">
      <dgm:prSet/>
      <dgm:spPr/>
      <dgm:t>
        <a:bodyPr/>
        <a:lstStyle/>
        <a:p>
          <a:endParaRPr lang="de-DE"/>
        </a:p>
      </dgm:t>
    </dgm:pt>
    <dgm:pt modelId="{07B0F400-F2C9-4FE4-9E42-903EC01FFC5C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sz="1400" dirty="0"/>
            <a:t>Definition </a:t>
          </a:r>
          <a:r>
            <a:rPr lang="de-DE" sz="1400" dirty="0" err="1"/>
            <a:t>of</a:t>
          </a:r>
          <a:r>
            <a:rPr lang="de-DE" sz="1400" dirty="0"/>
            <a:t> </a:t>
          </a:r>
          <a:r>
            <a:rPr lang="de-DE" sz="1400" dirty="0" err="1"/>
            <a:t>the</a:t>
          </a:r>
          <a:r>
            <a:rPr lang="de-DE" sz="1400" dirty="0"/>
            <a:t> Graph and Diffusion Model</a:t>
          </a:r>
        </a:p>
      </dgm:t>
    </dgm:pt>
    <dgm:pt modelId="{2869FB09-CF90-4A79-9353-7431CC7E0BF6}" type="parTrans" cxnId="{0675B573-035D-4B8B-AC3F-B42AED592C42}">
      <dgm:prSet/>
      <dgm:spPr/>
      <dgm:t>
        <a:bodyPr/>
        <a:lstStyle/>
        <a:p>
          <a:endParaRPr lang="de-DE"/>
        </a:p>
      </dgm:t>
    </dgm:pt>
    <dgm:pt modelId="{3E5EFEAD-0770-4E55-AD1A-A720F5971786}" type="sibTrans" cxnId="{0675B573-035D-4B8B-AC3F-B42AED592C42}">
      <dgm:prSet/>
      <dgm:spPr/>
      <dgm:t>
        <a:bodyPr/>
        <a:lstStyle/>
        <a:p>
          <a:endParaRPr lang="de-DE"/>
        </a:p>
      </dgm:t>
    </dgm:pt>
    <dgm:pt modelId="{8D3BE5B1-B3FC-4A2C-9CCD-ACA18B286D0C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Simulator</a:t>
          </a:r>
        </a:p>
      </dgm:t>
    </dgm:pt>
    <dgm:pt modelId="{117B0738-A474-4D1D-AC3D-3146F1AE57C1}" type="parTrans" cxnId="{89B0C97D-AA50-414B-9E31-475F207730DB}">
      <dgm:prSet/>
      <dgm:spPr/>
      <dgm:t>
        <a:bodyPr/>
        <a:lstStyle/>
        <a:p>
          <a:endParaRPr lang="de-DE"/>
        </a:p>
      </dgm:t>
    </dgm:pt>
    <dgm:pt modelId="{292947A2-A94C-4AD8-84A6-1879CFBFE60C}" type="sibTrans" cxnId="{89B0C97D-AA50-414B-9E31-475F207730DB}">
      <dgm:prSet/>
      <dgm:spPr/>
      <dgm:t>
        <a:bodyPr/>
        <a:lstStyle/>
        <a:p>
          <a:endParaRPr lang="de-DE"/>
        </a:p>
      </dgm:t>
    </dgm:pt>
    <dgm:pt modelId="{23B28723-C971-4774-B3C5-9A84C8A0B8E3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Parameter </a:t>
          </a:r>
          <a:r>
            <a:rPr lang="de-DE" dirty="0" err="1"/>
            <a:t>Estimators</a:t>
          </a:r>
          <a:endParaRPr lang="de-DE" dirty="0"/>
        </a:p>
      </dgm:t>
    </dgm:pt>
    <dgm:pt modelId="{45EFB868-5D21-4A39-A721-3DD36D3F0555}" type="parTrans" cxnId="{671FE5E5-085F-4B08-BEF0-514D37115D67}">
      <dgm:prSet/>
      <dgm:spPr/>
      <dgm:t>
        <a:bodyPr/>
        <a:lstStyle/>
        <a:p>
          <a:endParaRPr lang="de-DE"/>
        </a:p>
      </dgm:t>
    </dgm:pt>
    <dgm:pt modelId="{54543467-535D-4B73-8178-13F3B5942001}" type="sibTrans" cxnId="{671FE5E5-085F-4B08-BEF0-514D37115D67}">
      <dgm:prSet/>
      <dgm:spPr/>
      <dgm:t>
        <a:bodyPr/>
        <a:lstStyle/>
        <a:p>
          <a:endParaRPr lang="de-DE"/>
        </a:p>
      </dgm:t>
    </dgm:pt>
    <dgm:pt modelId="{1D5B33A5-BE46-4D7F-9DD6-3C08CFA18672}">
      <dgm:prSet phldrT="[Text]"/>
      <dgm:spPr/>
      <dgm:t>
        <a:bodyPr/>
        <a:lstStyle/>
        <a:p>
          <a:r>
            <a:rPr lang="de-DE" dirty="0"/>
            <a:t>Find </a:t>
          </a:r>
          <a:r>
            <a:rPr lang="de-DE" dirty="0" err="1"/>
            <a:t>usuable</a:t>
          </a:r>
          <a:r>
            <a:rPr lang="de-DE" dirty="0"/>
            <a:t> Test Data</a:t>
          </a:r>
        </a:p>
      </dgm:t>
    </dgm:pt>
    <dgm:pt modelId="{FE319EC9-C64C-4E98-9890-D8D0DB8F55EC}" type="parTrans" cxnId="{AE420F6B-2606-4187-8200-9AD0FD795217}">
      <dgm:prSet/>
      <dgm:spPr/>
      <dgm:t>
        <a:bodyPr/>
        <a:lstStyle/>
        <a:p>
          <a:endParaRPr lang="de-DE"/>
        </a:p>
      </dgm:t>
    </dgm:pt>
    <dgm:pt modelId="{383467FF-4096-4945-9C3E-DF2E595701DB}" type="sibTrans" cxnId="{AE420F6B-2606-4187-8200-9AD0FD795217}">
      <dgm:prSet/>
      <dgm:spPr/>
      <dgm:t>
        <a:bodyPr/>
        <a:lstStyle/>
        <a:p>
          <a:endParaRPr lang="de-DE"/>
        </a:p>
      </dgm:t>
    </dgm:pt>
    <dgm:pt modelId="{436CE51B-88CD-4554-8058-2D122672DDA6}">
      <dgm:prSet phldrT="[Text]"/>
      <dgm:spPr/>
      <dgm:t>
        <a:bodyPr/>
        <a:lstStyle/>
        <a:p>
          <a:r>
            <a:rPr lang="de-DE" dirty="0" err="1"/>
            <a:t>Evaluate</a:t>
          </a:r>
          <a:r>
            <a:rPr lang="de-DE" dirty="0"/>
            <a:t> Method</a:t>
          </a:r>
        </a:p>
      </dgm:t>
    </dgm:pt>
    <dgm:pt modelId="{8F8D4055-8CC6-4D94-AC30-BA4D4CBD87D0}" type="parTrans" cxnId="{E13CC11D-37F3-47E3-BA91-464FBB55D2E1}">
      <dgm:prSet/>
      <dgm:spPr/>
      <dgm:t>
        <a:bodyPr/>
        <a:lstStyle/>
        <a:p>
          <a:endParaRPr lang="de-DE"/>
        </a:p>
      </dgm:t>
    </dgm:pt>
    <dgm:pt modelId="{5167E0A4-A594-419C-9667-56E9C5790B0F}" type="sibTrans" cxnId="{E13CC11D-37F3-47E3-BA91-464FBB55D2E1}">
      <dgm:prSet/>
      <dgm:spPr/>
      <dgm:t>
        <a:bodyPr/>
        <a:lstStyle/>
        <a:p>
          <a:endParaRPr lang="de-DE"/>
        </a:p>
      </dgm:t>
    </dgm:pt>
    <dgm:pt modelId="{61A1A7FF-D629-4AE9-AFF9-9BDA9572CA18}" type="pres">
      <dgm:prSet presAssocID="{20BBA37C-E49C-4BCC-ABDD-3701E4539CD8}" presName="Name0" presStyleCnt="0">
        <dgm:presLayoutVars>
          <dgm:dir/>
          <dgm:resizeHandles val="exact"/>
        </dgm:presLayoutVars>
      </dgm:prSet>
      <dgm:spPr/>
    </dgm:pt>
    <dgm:pt modelId="{1FAE9A4C-2B9C-4D64-87A9-7CA7C88C2FE8}" type="pres">
      <dgm:prSet presAssocID="{85CE94F9-D573-496C-8F4A-58CAC04920B9}" presName="parTxOnly" presStyleLbl="node1" presStyleIdx="0" presStyleCnt="6">
        <dgm:presLayoutVars>
          <dgm:bulletEnabled val="1"/>
        </dgm:presLayoutVars>
      </dgm:prSet>
      <dgm:spPr/>
    </dgm:pt>
    <dgm:pt modelId="{131952FE-AD64-45E7-9B7D-0821D81EA7EA}" type="pres">
      <dgm:prSet presAssocID="{925EDFBB-BB3C-4E88-823D-CC1D0607EE1B}" presName="parSpace" presStyleCnt="0"/>
      <dgm:spPr/>
    </dgm:pt>
    <dgm:pt modelId="{099B4CAB-A6C2-4F23-B178-BD63E2179F59}" type="pres">
      <dgm:prSet presAssocID="{07B0F400-F2C9-4FE4-9E42-903EC01FFC5C}" presName="parTxOnly" presStyleLbl="node1" presStyleIdx="1" presStyleCnt="6">
        <dgm:presLayoutVars>
          <dgm:bulletEnabled val="1"/>
        </dgm:presLayoutVars>
      </dgm:prSet>
      <dgm:spPr/>
    </dgm:pt>
    <dgm:pt modelId="{B51AC7EB-BBB3-48A4-846C-030AEAB71C8B}" type="pres">
      <dgm:prSet presAssocID="{3E5EFEAD-0770-4E55-AD1A-A720F5971786}" presName="parSpace" presStyleCnt="0"/>
      <dgm:spPr/>
    </dgm:pt>
    <dgm:pt modelId="{E3A27E1D-A24D-42CA-B68F-AC9EB27C76B1}" type="pres">
      <dgm:prSet presAssocID="{8D3BE5B1-B3FC-4A2C-9CCD-ACA18B286D0C}" presName="parTxOnly" presStyleLbl="node1" presStyleIdx="2" presStyleCnt="6">
        <dgm:presLayoutVars>
          <dgm:bulletEnabled val="1"/>
        </dgm:presLayoutVars>
      </dgm:prSet>
      <dgm:spPr/>
    </dgm:pt>
    <dgm:pt modelId="{EED31798-9696-4CD5-B373-46C441509447}" type="pres">
      <dgm:prSet presAssocID="{292947A2-A94C-4AD8-84A6-1879CFBFE60C}" presName="parSpace" presStyleCnt="0"/>
      <dgm:spPr/>
    </dgm:pt>
    <dgm:pt modelId="{C4DE94CA-6DE3-428F-9B95-A2D3302FF049}" type="pres">
      <dgm:prSet presAssocID="{23B28723-C971-4774-B3C5-9A84C8A0B8E3}" presName="parTxOnly" presStyleLbl="node1" presStyleIdx="3" presStyleCnt="6">
        <dgm:presLayoutVars>
          <dgm:bulletEnabled val="1"/>
        </dgm:presLayoutVars>
      </dgm:prSet>
      <dgm:spPr/>
    </dgm:pt>
    <dgm:pt modelId="{E7AF0474-A829-4F61-BC8E-6FE164F04CFB}" type="pres">
      <dgm:prSet presAssocID="{54543467-535D-4B73-8178-13F3B5942001}" presName="parSpace" presStyleCnt="0"/>
      <dgm:spPr/>
    </dgm:pt>
    <dgm:pt modelId="{83F10EF0-7593-4B18-BC44-32C519546D62}" type="pres">
      <dgm:prSet presAssocID="{1D5B33A5-BE46-4D7F-9DD6-3C08CFA18672}" presName="parTxOnly" presStyleLbl="node1" presStyleIdx="4" presStyleCnt="6">
        <dgm:presLayoutVars>
          <dgm:bulletEnabled val="1"/>
        </dgm:presLayoutVars>
      </dgm:prSet>
      <dgm:spPr/>
    </dgm:pt>
    <dgm:pt modelId="{693375C3-3E20-4010-9119-A2E9D3E9607F}" type="pres">
      <dgm:prSet presAssocID="{383467FF-4096-4945-9C3E-DF2E595701DB}" presName="parSpace" presStyleCnt="0"/>
      <dgm:spPr/>
    </dgm:pt>
    <dgm:pt modelId="{828933F3-B2F1-42EF-B27A-C582AF39549F}" type="pres">
      <dgm:prSet presAssocID="{436CE51B-88CD-4554-8058-2D122672DDA6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E6251400-1F8F-4B15-867D-583A94A99FE4}" type="presOf" srcId="{8D3BE5B1-B3FC-4A2C-9CCD-ACA18B286D0C}" destId="{E3A27E1D-A24D-42CA-B68F-AC9EB27C76B1}" srcOrd="0" destOrd="0" presId="urn:microsoft.com/office/officeart/2005/8/layout/hChevron3"/>
    <dgm:cxn modelId="{E13CC11D-37F3-47E3-BA91-464FBB55D2E1}" srcId="{20BBA37C-E49C-4BCC-ABDD-3701E4539CD8}" destId="{436CE51B-88CD-4554-8058-2D122672DDA6}" srcOrd="5" destOrd="0" parTransId="{8F8D4055-8CC6-4D94-AC30-BA4D4CBD87D0}" sibTransId="{5167E0A4-A594-419C-9667-56E9C5790B0F}"/>
    <dgm:cxn modelId="{686D1D47-C816-4BCE-AAB6-0132B3348C37}" type="presOf" srcId="{1D5B33A5-BE46-4D7F-9DD6-3C08CFA18672}" destId="{83F10EF0-7593-4B18-BC44-32C519546D62}" srcOrd="0" destOrd="0" presId="urn:microsoft.com/office/officeart/2005/8/layout/hChevron3"/>
    <dgm:cxn modelId="{AE420F6B-2606-4187-8200-9AD0FD795217}" srcId="{20BBA37C-E49C-4BCC-ABDD-3701E4539CD8}" destId="{1D5B33A5-BE46-4D7F-9DD6-3C08CFA18672}" srcOrd="4" destOrd="0" parTransId="{FE319EC9-C64C-4E98-9890-D8D0DB8F55EC}" sibTransId="{383467FF-4096-4945-9C3E-DF2E595701DB}"/>
    <dgm:cxn modelId="{69FA3353-1A13-4CC3-BCD9-8C5ABEDB41A0}" type="presOf" srcId="{85CE94F9-D573-496C-8F4A-58CAC04920B9}" destId="{1FAE9A4C-2B9C-4D64-87A9-7CA7C88C2FE8}" srcOrd="0" destOrd="0" presId="urn:microsoft.com/office/officeart/2005/8/layout/hChevron3"/>
    <dgm:cxn modelId="{0675B573-035D-4B8B-AC3F-B42AED592C42}" srcId="{20BBA37C-E49C-4BCC-ABDD-3701E4539CD8}" destId="{07B0F400-F2C9-4FE4-9E42-903EC01FFC5C}" srcOrd="1" destOrd="0" parTransId="{2869FB09-CF90-4A79-9353-7431CC7E0BF6}" sibTransId="{3E5EFEAD-0770-4E55-AD1A-A720F5971786}"/>
    <dgm:cxn modelId="{89B0C97D-AA50-414B-9E31-475F207730DB}" srcId="{20BBA37C-E49C-4BCC-ABDD-3701E4539CD8}" destId="{8D3BE5B1-B3FC-4A2C-9CCD-ACA18B286D0C}" srcOrd="2" destOrd="0" parTransId="{117B0738-A474-4D1D-AC3D-3146F1AE57C1}" sibTransId="{292947A2-A94C-4AD8-84A6-1879CFBFE60C}"/>
    <dgm:cxn modelId="{D431ED8D-898A-40F0-8019-ADB846CEBDCE}" type="presOf" srcId="{436CE51B-88CD-4554-8058-2D122672DDA6}" destId="{828933F3-B2F1-42EF-B27A-C582AF39549F}" srcOrd="0" destOrd="0" presId="urn:microsoft.com/office/officeart/2005/8/layout/hChevron3"/>
    <dgm:cxn modelId="{E4EDA5B5-B8B1-48E1-8185-8BADD9483FF4}" srcId="{20BBA37C-E49C-4BCC-ABDD-3701E4539CD8}" destId="{85CE94F9-D573-496C-8F4A-58CAC04920B9}" srcOrd="0" destOrd="0" parTransId="{42D2377C-A205-4A18-9047-DA9DD6966DB0}" sibTransId="{925EDFBB-BB3C-4E88-823D-CC1D0607EE1B}"/>
    <dgm:cxn modelId="{DC08D0B8-61EE-4AE9-BCB8-DF7B8ED44BFE}" type="presOf" srcId="{23B28723-C971-4774-B3C5-9A84C8A0B8E3}" destId="{C4DE94CA-6DE3-428F-9B95-A2D3302FF049}" srcOrd="0" destOrd="0" presId="urn:microsoft.com/office/officeart/2005/8/layout/hChevron3"/>
    <dgm:cxn modelId="{445DEBDA-A768-4A2F-9159-3F9C8ABDB28C}" type="presOf" srcId="{07B0F400-F2C9-4FE4-9E42-903EC01FFC5C}" destId="{099B4CAB-A6C2-4F23-B178-BD63E2179F59}" srcOrd="0" destOrd="0" presId="urn:microsoft.com/office/officeart/2005/8/layout/hChevron3"/>
    <dgm:cxn modelId="{671FE5E5-085F-4B08-BEF0-514D37115D67}" srcId="{20BBA37C-E49C-4BCC-ABDD-3701E4539CD8}" destId="{23B28723-C971-4774-B3C5-9A84C8A0B8E3}" srcOrd="3" destOrd="0" parTransId="{45EFB868-5D21-4A39-A721-3DD36D3F0555}" sibTransId="{54543467-535D-4B73-8178-13F3B5942001}"/>
    <dgm:cxn modelId="{01A7DCF2-15C0-4DDB-9657-0BCCCB4FFAEE}" type="presOf" srcId="{20BBA37C-E49C-4BCC-ABDD-3701E4539CD8}" destId="{61A1A7FF-D629-4AE9-AFF9-9BDA9572CA18}" srcOrd="0" destOrd="0" presId="urn:microsoft.com/office/officeart/2005/8/layout/hChevron3"/>
    <dgm:cxn modelId="{DAF30417-DCA8-438A-94B4-093679D38814}" type="presParOf" srcId="{61A1A7FF-D629-4AE9-AFF9-9BDA9572CA18}" destId="{1FAE9A4C-2B9C-4D64-87A9-7CA7C88C2FE8}" srcOrd="0" destOrd="0" presId="urn:microsoft.com/office/officeart/2005/8/layout/hChevron3"/>
    <dgm:cxn modelId="{CA3CA49D-BD14-4CC7-8E45-13225F3E97A4}" type="presParOf" srcId="{61A1A7FF-D629-4AE9-AFF9-9BDA9572CA18}" destId="{131952FE-AD64-45E7-9B7D-0821D81EA7EA}" srcOrd="1" destOrd="0" presId="urn:microsoft.com/office/officeart/2005/8/layout/hChevron3"/>
    <dgm:cxn modelId="{3274020C-3042-49B0-8229-BED72B829FF3}" type="presParOf" srcId="{61A1A7FF-D629-4AE9-AFF9-9BDA9572CA18}" destId="{099B4CAB-A6C2-4F23-B178-BD63E2179F59}" srcOrd="2" destOrd="0" presId="urn:microsoft.com/office/officeart/2005/8/layout/hChevron3"/>
    <dgm:cxn modelId="{70C54650-3C22-4046-A112-85BF49A524B2}" type="presParOf" srcId="{61A1A7FF-D629-4AE9-AFF9-9BDA9572CA18}" destId="{B51AC7EB-BBB3-48A4-846C-030AEAB71C8B}" srcOrd="3" destOrd="0" presId="urn:microsoft.com/office/officeart/2005/8/layout/hChevron3"/>
    <dgm:cxn modelId="{68D402AD-C462-4954-B3EC-82821574E0AD}" type="presParOf" srcId="{61A1A7FF-D629-4AE9-AFF9-9BDA9572CA18}" destId="{E3A27E1D-A24D-42CA-B68F-AC9EB27C76B1}" srcOrd="4" destOrd="0" presId="urn:microsoft.com/office/officeart/2005/8/layout/hChevron3"/>
    <dgm:cxn modelId="{0367AF89-F8CF-4BD3-97A7-E17541F047DE}" type="presParOf" srcId="{61A1A7FF-D629-4AE9-AFF9-9BDA9572CA18}" destId="{EED31798-9696-4CD5-B373-46C441509447}" srcOrd="5" destOrd="0" presId="urn:microsoft.com/office/officeart/2005/8/layout/hChevron3"/>
    <dgm:cxn modelId="{AB40C617-A992-4F8E-96F0-C879D775DD9F}" type="presParOf" srcId="{61A1A7FF-D629-4AE9-AFF9-9BDA9572CA18}" destId="{C4DE94CA-6DE3-428F-9B95-A2D3302FF049}" srcOrd="6" destOrd="0" presId="urn:microsoft.com/office/officeart/2005/8/layout/hChevron3"/>
    <dgm:cxn modelId="{52B24DCE-CCF5-4398-9BBD-D9D93759A244}" type="presParOf" srcId="{61A1A7FF-D629-4AE9-AFF9-9BDA9572CA18}" destId="{E7AF0474-A829-4F61-BC8E-6FE164F04CFB}" srcOrd="7" destOrd="0" presId="urn:microsoft.com/office/officeart/2005/8/layout/hChevron3"/>
    <dgm:cxn modelId="{A1B62065-C4FC-41BD-94E5-47272BA7CC5E}" type="presParOf" srcId="{61A1A7FF-D629-4AE9-AFF9-9BDA9572CA18}" destId="{83F10EF0-7593-4B18-BC44-32C519546D62}" srcOrd="8" destOrd="0" presId="urn:microsoft.com/office/officeart/2005/8/layout/hChevron3"/>
    <dgm:cxn modelId="{BC87865E-BECF-4055-9312-603B25F8918F}" type="presParOf" srcId="{61A1A7FF-D629-4AE9-AFF9-9BDA9572CA18}" destId="{693375C3-3E20-4010-9119-A2E9D3E9607F}" srcOrd="9" destOrd="0" presId="urn:microsoft.com/office/officeart/2005/8/layout/hChevron3"/>
    <dgm:cxn modelId="{9A921267-994D-4D77-8D5A-51006BF0D3A5}" type="presParOf" srcId="{61A1A7FF-D629-4AE9-AFF9-9BDA9572CA18}" destId="{828933F3-B2F1-42EF-B27A-C582AF39549F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CEE715-3D35-42A0-BE4D-12B172B9F8EA}">
      <dsp:nvSpPr>
        <dsp:cNvPr id="0" name=""/>
        <dsp:cNvSpPr/>
      </dsp:nvSpPr>
      <dsp:spPr>
        <a:xfrm>
          <a:off x="1167873" y="0"/>
          <a:ext cx="3187929" cy="839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Non-</a:t>
          </a:r>
          <a:r>
            <a:rPr lang="de-DE" sz="2400" kern="1200" dirty="0" err="1"/>
            <a:t>behavior</a:t>
          </a:r>
          <a:r>
            <a:rPr lang="de-DE" sz="2400" kern="1200" dirty="0"/>
            <a:t>-</a:t>
          </a:r>
          <a:r>
            <a:rPr lang="de-DE" sz="2400" kern="1200" dirty="0" err="1"/>
            <a:t>based</a:t>
          </a:r>
          <a:r>
            <a:rPr lang="de-DE" sz="2400" kern="1200" dirty="0"/>
            <a:t> Data</a:t>
          </a:r>
        </a:p>
      </dsp:txBody>
      <dsp:txXfrm>
        <a:off x="1192474" y="24601"/>
        <a:ext cx="3138727" cy="790730"/>
      </dsp:txXfrm>
    </dsp:sp>
    <dsp:sp modelId="{02A0B113-0600-412A-9DC9-0CB4C86240C9}">
      <dsp:nvSpPr>
        <dsp:cNvPr id="0" name=""/>
        <dsp:cNvSpPr/>
      </dsp:nvSpPr>
      <dsp:spPr>
        <a:xfrm>
          <a:off x="1486666" y="839932"/>
          <a:ext cx="322774" cy="6266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6627"/>
              </a:lnTo>
              <a:lnTo>
                <a:pt x="322774" y="62662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56D7FE-4CD0-4330-9990-A1E5CD0430D7}">
      <dsp:nvSpPr>
        <dsp:cNvPr id="0" name=""/>
        <dsp:cNvSpPr/>
      </dsp:nvSpPr>
      <dsp:spPr>
        <a:xfrm>
          <a:off x="1809440" y="104659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Historical Power Load</a:t>
          </a:r>
        </a:p>
      </dsp:txBody>
      <dsp:txXfrm>
        <a:off x="1834041" y="1071194"/>
        <a:ext cx="1294689" cy="790730"/>
      </dsp:txXfrm>
    </dsp:sp>
    <dsp:sp modelId="{9C1EE911-2B8C-423A-A5C5-C7BE96855221}">
      <dsp:nvSpPr>
        <dsp:cNvPr id="0" name=""/>
        <dsp:cNvSpPr/>
      </dsp:nvSpPr>
      <dsp:spPr>
        <a:xfrm>
          <a:off x="1486666" y="839932"/>
          <a:ext cx="322774" cy="16746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4627"/>
              </a:lnTo>
              <a:lnTo>
                <a:pt x="322774" y="167462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A2AC68-48D6-4A41-8432-5DE28A879A81}">
      <dsp:nvSpPr>
        <dsp:cNvPr id="0" name=""/>
        <dsp:cNvSpPr/>
      </dsp:nvSpPr>
      <dsp:spPr>
        <a:xfrm>
          <a:off x="1809440" y="209459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Weather</a:t>
          </a:r>
          <a:endParaRPr lang="de-DE" sz="1800" kern="1200" dirty="0"/>
        </a:p>
      </dsp:txBody>
      <dsp:txXfrm>
        <a:off x="1834041" y="2119194"/>
        <a:ext cx="1294689" cy="790730"/>
      </dsp:txXfrm>
    </dsp:sp>
    <dsp:sp modelId="{58B1074D-0F5C-4728-9218-072CFFBFA7F1}">
      <dsp:nvSpPr>
        <dsp:cNvPr id="0" name=""/>
        <dsp:cNvSpPr/>
      </dsp:nvSpPr>
      <dsp:spPr>
        <a:xfrm>
          <a:off x="1486666" y="839932"/>
          <a:ext cx="296165" cy="27053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5392"/>
              </a:lnTo>
              <a:lnTo>
                <a:pt x="296165" y="27053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9AC03-0D36-4876-87D2-7AAFB54A0227}">
      <dsp:nvSpPr>
        <dsp:cNvPr id="0" name=""/>
        <dsp:cNvSpPr/>
      </dsp:nvSpPr>
      <dsp:spPr>
        <a:xfrm>
          <a:off x="1782831" y="3125358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Time</a:t>
          </a:r>
        </a:p>
      </dsp:txBody>
      <dsp:txXfrm>
        <a:off x="1807432" y="3149959"/>
        <a:ext cx="1294689" cy="790730"/>
      </dsp:txXfrm>
    </dsp:sp>
    <dsp:sp modelId="{791D703C-F533-4BAF-BDE8-DD51435A86B4}">
      <dsp:nvSpPr>
        <dsp:cNvPr id="0" name=""/>
        <dsp:cNvSpPr/>
      </dsp:nvSpPr>
      <dsp:spPr>
        <a:xfrm>
          <a:off x="1486666" y="839932"/>
          <a:ext cx="294780" cy="37806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80660"/>
              </a:lnTo>
              <a:lnTo>
                <a:pt x="294780" y="378066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97D142-ED57-4FC5-BE61-92C7A3297D8E}">
      <dsp:nvSpPr>
        <dsp:cNvPr id="0" name=""/>
        <dsp:cNvSpPr/>
      </dsp:nvSpPr>
      <dsp:spPr>
        <a:xfrm>
          <a:off x="1781447" y="4200626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…</a:t>
          </a:r>
        </a:p>
      </dsp:txBody>
      <dsp:txXfrm>
        <a:off x="1806048" y="4225227"/>
        <a:ext cx="1294689" cy="790730"/>
      </dsp:txXfrm>
    </dsp:sp>
    <dsp:sp modelId="{2A66DC7D-BDF3-4751-A4D3-67EB48BAAC5F}">
      <dsp:nvSpPr>
        <dsp:cNvPr id="0" name=""/>
        <dsp:cNvSpPr/>
      </dsp:nvSpPr>
      <dsp:spPr>
        <a:xfrm>
          <a:off x="5411311" y="482"/>
          <a:ext cx="3226431" cy="839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Behavior-based</a:t>
          </a:r>
          <a:r>
            <a:rPr lang="de-DE" sz="2400" kern="1200" dirty="0"/>
            <a:t> Data</a:t>
          </a:r>
        </a:p>
      </dsp:txBody>
      <dsp:txXfrm>
        <a:off x="5435912" y="25083"/>
        <a:ext cx="3177229" cy="790730"/>
      </dsp:txXfrm>
    </dsp:sp>
    <dsp:sp modelId="{0B6E15B1-D3C4-4A12-B25D-F82ADEC64178}">
      <dsp:nvSpPr>
        <dsp:cNvPr id="0" name=""/>
        <dsp:cNvSpPr/>
      </dsp:nvSpPr>
      <dsp:spPr>
        <a:xfrm>
          <a:off x="5733954" y="840415"/>
          <a:ext cx="322643" cy="6299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9949"/>
              </a:lnTo>
              <a:lnTo>
                <a:pt x="322643" y="6299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5D0167-DA06-4F35-9C5E-88498FC32FA8}">
      <dsp:nvSpPr>
        <dsp:cNvPr id="0" name=""/>
        <dsp:cNvSpPr/>
      </dsp:nvSpPr>
      <dsp:spPr>
        <a:xfrm>
          <a:off x="6056598" y="1050398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Social</a:t>
          </a:r>
          <a:r>
            <a:rPr lang="de-DE" sz="1800" kern="1200" dirty="0"/>
            <a:t> </a:t>
          </a:r>
          <a:r>
            <a:rPr lang="de-DE" sz="1800" kern="1200" dirty="0" err="1"/>
            <a:t>media</a:t>
          </a:r>
          <a:endParaRPr lang="de-DE" sz="1800" kern="1200" dirty="0"/>
        </a:p>
      </dsp:txBody>
      <dsp:txXfrm>
        <a:off x="6081199" y="1074999"/>
        <a:ext cx="1294689" cy="790730"/>
      </dsp:txXfrm>
    </dsp:sp>
    <dsp:sp modelId="{7E23E5B5-1E1E-49B5-BFA5-9B1ACC15D04D}">
      <dsp:nvSpPr>
        <dsp:cNvPr id="0" name=""/>
        <dsp:cNvSpPr/>
      </dsp:nvSpPr>
      <dsp:spPr>
        <a:xfrm>
          <a:off x="5733954" y="840415"/>
          <a:ext cx="322643" cy="167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9864"/>
              </a:lnTo>
              <a:lnTo>
                <a:pt x="322643" y="16798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F77979-CE46-4054-805F-949D8C4BCAA5}">
      <dsp:nvSpPr>
        <dsp:cNvPr id="0" name=""/>
        <dsp:cNvSpPr/>
      </dsp:nvSpPr>
      <dsp:spPr>
        <a:xfrm>
          <a:off x="6056598" y="210031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Traffic</a:t>
          </a:r>
        </a:p>
      </dsp:txBody>
      <dsp:txXfrm>
        <a:off x="6081199" y="2124914"/>
        <a:ext cx="1294689" cy="790730"/>
      </dsp:txXfrm>
    </dsp:sp>
    <dsp:sp modelId="{87930022-88E2-4A7E-ACFE-72E10DAC527A}">
      <dsp:nvSpPr>
        <dsp:cNvPr id="0" name=""/>
        <dsp:cNvSpPr/>
      </dsp:nvSpPr>
      <dsp:spPr>
        <a:xfrm>
          <a:off x="5733954" y="840415"/>
          <a:ext cx="322643" cy="27297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29779"/>
              </a:lnTo>
              <a:lnTo>
                <a:pt x="322643" y="272977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A2390F-D011-4118-A24E-F0202DA7334E}">
      <dsp:nvSpPr>
        <dsp:cNvPr id="0" name=""/>
        <dsp:cNvSpPr/>
      </dsp:nvSpPr>
      <dsp:spPr>
        <a:xfrm>
          <a:off x="6056598" y="3150228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Satellite</a:t>
          </a:r>
          <a:r>
            <a:rPr lang="de-DE" sz="1800" kern="1200" dirty="0"/>
            <a:t> Images</a:t>
          </a:r>
        </a:p>
      </dsp:txBody>
      <dsp:txXfrm>
        <a:off x="6081199" y="3174829"/>
        <a:ext cx="1294689" cy="790730"/>
      </dsp:txXfrm>
    </dsp:sp>
    <dsp:sp modelId="{841635B0-FB7E-4A9A-A2CC-233E088B1FF5}">
      <dsp:nvSpPr>
        <dsp:cNvPr id="0" name=""/>
        <dsp:cNvSpPr/>
      </dsp:nvSpPr>
      <dsp:spPr>
        <a:xfrm>
          <a:off x="5733954" y="840415"/>
          <a:ext cx="322643" cy="37796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79694"/>
              </a:lnTo>
              <a:lnTo>
                <a:pt x="322643" y="377969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B60F2A-84B1-468E-84E8-0CD800D9891F}">
      <dsp:nvSpPr>
        <dsp:cNvPr id="0" name=""/>
        <dsp:cNvSpPr/>
      </dsp:nvSpPr>
      <dsp:spPr>
        <a:xfrm>
          <a:off x="6056598" y="420014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…</a:t>
          </a:r>
        </a:p>
      </dsp:txBody>
      <dsp:txXfrm>
        <a:off x="6081199" y="4224744"/>
        <a:ext cx="1294689" cy="7907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AE9A4C-2B9C-4D64-87A9-7CA7C88C2FE8}">
      <dsp:nvSpPr>
        <dsp:cNvPr id="0" name=""/>
        <dsp:cNvSpPr/>
      </dsp:nvSpPr>
      <dsp:spPr>
        <a:xfrm>
          <a:off x="1406" y="907382"/>
          <a:ext cx="2303852" cy="921540"/>
        </a:xfrm>
        <a:prstGeom prst="homePlat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80010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 err="1"/>
            <a:t>Literature</a:t>
          </a:r>
          <a:r>
            <a:rPr lang="de-DE" sz="1500" kern="1200" dirty="0"/>
            <a:t> Research</a:t>
          </a:r>
        </a:p>
      </dsp:txBody>
      <dsp:txXfrm>
        <a:off x="1406" y="907382"/>
        <a:ext cx="2073467" cy="921540"/>
      </dsp:txXfrm>
    </dsp:sp>
    <dsp:sp modelId="{099B4CAB-A6C2-4F23-B178-BD63E2179F59}">
      <dsp:nvSpPr>
        <dsp:cNvPr id="0" name=""/>
        <dsp:cNvSpPr/>
      </dsp:nvSpPr>
      <dsp:spPr>
        <a:xfrm>
          <a:off x="1844488" y="907382"/>
          <a:ext cx="2303852" cy="921540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Definition </a:t>
          </a:r>
          <a:r>
            <a:rPr lang="de-DE" sz="1400" kern="1200" dirty="0" err="1"/>
            <a:t>of</a:t>
          </a:r>
          <a:r>
            <a:rPr lang="de-DE" sz="1400" kern="1200" dirty="0"/>
            <a:t> </a:t>
          </a:r>
          <a:r>
            <a:rPr lang="de-DE" sz="1400" kern="1200" dirty="0" err="1"/>
            <a:t>the</a:t>
          </a:r>
          <a:r>
            <a:rPr lang="de-DE" sz="1400" kern="1200" dirty="0"/>
            <a:t> Graph and Diffusion Model</a:t>
          </a:r>
        </a:p>
      </dsp:txBody>
      <dsp:txXfrm>
        <a:off x="2305258" y="907382"/>
        <a:ext cx="1382312" cy="921540"/>
      </dsp:txXfrm>
    </dsp:sp>
    <dsp:sp modelId="{E3A27E1D-A24D-42CA-B68F-AC9EB27C76B1}">
      <dsp:nvSpPr>
        <dsp:cNvPr id="0" name=""/>
        <dsp:cNvSpPr/>
      </dsp:nvSpPr>
      <dsp:spPr>
        <a:xfrm>
          <a:off x="3687570" y="907382"/>
          <a:ext cx="2303852" cy="921540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Implementation </a:t>
          </a:r>
          <a:r>
            <a:rPr lang="de-DE" sz="1500" kern="1200" dirty="0" err="1"/>
            <a:t>of</a:t>
          </a:r>
          <a:r>
            <a:rPr lang="de-DE" sz="1500" kern="1200" dirty="0"/>
            <a:t> </a:t>
          </a:r>
          <a:r>
            <a:rPr lang="de-DE" sz="1500" kern="1200" dirty="0" err="1"/>
            <a:t>the</a:t>
          </a:r>
          <a:r>
            <a:rPr lang="de-DE" sz="1500" kern="1200" dirty="0"/>
            <a:t> Simulator</a:t>
          </a:r>
        </a:p>
      </dsp:txBody>
      <dsp:txXfrm>
        <a:off x="4148340" y="907382"/>
        <a:ext cx="1382312" cy="921540"/>
      </dsp:txXfrm>
    </dsp:sp>
    <dsp:sp modelId="{C4DE94CA-6DE3-428F-9B95-A2D3302FF049}">
      <dsp:nvSpPr>
        <dsp:cNvPr id="0" name=""/>
        <dsp:cNvSpPr/>
      </dsp:nvSpPr>
      <dsp:spPr>
        <a:xfrm>
          <a:off x="5530652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Implementation </a:t>
          </a:r>
          <a:r>
            <a:rPr lang="de-DE" sz="1500" kern="1200" dirty="0" err="1"/>
            <a:t>of</a:t>
          </a:r>
          <a:r>
            <a:rPr lang="de-DE" sz="1500" kern="1200" dirty="0"/>
            <a:t> </a:t>
          </a:r>
          <a:r>
            <a:rPr lang="de-DE" sz="1500" kern="1200" dirty="0" err="1"/>
            <a:t>the</a:t>
          </a:r>
          <a:r>
            <a:rPr lang="de-DE" sz="1500" kern="1200" dirty="0"/>
            <a:t> Parameter </a:t>
          </a:r>
          <a:r>
            <a:rPr lang="de-DE" sz="1500" kern="1200" dirty="0" err="1"/>
            <a:t>Estimators</a:t>
          </a:r>
          <a:endParaRPr lang="de-DE" sz="1500" kern="1200" dirty="0"/>
        </a:p>
      </dsp:txBody>
      <dsp:txXfrm>
        <a:off x="5991422" y="907382"/>
        <a:ext cx="1382312" cy="921540"/>
      </dsp:txXfrm>
    </dsp:sp>
    <dsp:sp modelId="{83F10EF0-7593-4B18-BC44-32C519546D62}">
      <dsp:nvSpPr>
        <dsp:cNvPr id="0" name=""/>
        <dsp:cNvSpPr/>
      </dsp:nvSpPr>
      <dsp:spPr>
        <a:xfrm>
          <a:off x="7373734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Find </a:t>
          </a:r>
          <a:r>
            <a:rPr lang="de-DE" sz="1500" kern="1200" dirty="0" err="1"/>
            <a:t>usuable</a:t>
          </a:r>
          <a:r>
            <a:rPr lang="de-DE" sz="1500" kern="1200" dirty="0"/>
            <a:t> Test Data</a:t>
          </a:r>
        </a:p>
      </dsp:txBody>
      <dsp:txXfrm>
        <a:off x="7834504" y="907382"/>
        <a:ext cx="1382312" cy="921540"/>
      </dsp:txXfrm>
    </dsp:sp>
    <dsp:sp modelId="{828933F3-B2F1-42EF-B27A-C582AF39549F}">
      <dsp:nvSpPr>
        <dsp:cNvPr id="0" name=""/>
        <dsp:cNvSpPr/>
      </dsp:nvSpPr>
      <dsp:spPr>
        <a:xfrm>
          <a:off x="9216816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 err="1"/>
            <a:t>Evaluate</a:t>
          </a:r>
          <a:r>
            <a:rPr lang="de-DE" sz="1500" kern="1200" dirty="0"/>
            <a:t> Method</a:t>
          </a:r>
        </a:p>
      </dsp:txBody>
      <dsp:txXfrm>
        <a:off x="9677586" y="907382"/>
        <a:ext cx="1382312" cy="9215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9. Juli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9. Juli 2023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ODO: legende </a:t>
            </a:r>
            <a:r>
              <a:rPr lang="de-DE" dirty="0" err="1"/>
              <a:t>graph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9. Juli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8273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9. Juli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826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555750"/>
            <a:ext cx="8856156" cy="838200"/>
          </a:xfrm>
        </p:spPr>
        <p:txBody>
          <a:bodyPr/>
          <a:lstStyle/>
          <a:p>
            <a:r>
              <a:rPr lang="de-DE" dirty="0"/>
              <a:t>Master Thesis </a:t>
            </a:r>
            <a:r>
              <a:rPr lang="en-US" dirty="0"/>
              <a:t>of</a:t>
            </a:r>
            <a:r>
              <a:rPr lang="de-DE" dirty="0"/>
              <a:t> Isabella N. Grieser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odelling and Analysis of Human Behavior Impacts on Energy Systems during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6B06DE-4337-3584-9F8E-460629089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rst Look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imulator</a:t>
            </a:r>
          </a:p>
        </p:txBody>
      </p:sp>
      <p:pic>
        <p:nvPicPr>
          <p:cNvPr id="3" name="zwischenpräsi">
            <a:hlinkClick r:id="" action="ppaction://media"/>
            <a:extLst>
              <a:ext uri="{FF2B5EF4-FFF2-40B4-BE49-F238E27FC236}">
                <a16:creationId xmlns:a16="http://schemas.microsoft.com/office/drawing/2014/main" id="{796F31F6-5BA6-EBD7-70A7-418B8C17D73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5256" t="13602" r="7641" b="12971"/>
          <a:stretch/>
        </p:blipFill>
        <p:spPr>
          <a:xfrm>
            <a:off x="695400" y="1484672"/>
            <a:ext cx="10507045" cy="4982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658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5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EEF76A-CBED-CC75-7EBE-49938DFB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Power </a:t>
            </a:r>
            <a:r>
              <a:rPr lang="de-DE" dirty="0" err="1"/>
              <a:t>Grid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Human </a:t>
            </a:r>
            <a:r>
              <a:rPr lang="de-DE" dirty="0" err="1"/>
              <a:t>Behavior</a:t>
            </a:r>
            <a:endParaRPr lang="de-DE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7DF9BFEE-9FA3-A0B7-9EB3-CDA1687C0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4537601"/>
              </p:ext>
            </p:extLst>
          </p:nvPr>
        </p:nvGraphicFramePr>
        <p:xfrm>
          <a:off x="911424" y="1628800"/>
          <a:ext cx="10441160" cy="5040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470457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uld it be possible to predict an increased Power Demand based on Real Data?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8E74A200-D164-A801-A0EF-4C59769E503B}"/>
              </a:ext>
            </a:extLst>
          </p:cNvPr>
          <p:cNvSpPr/>
          <p:nvPr/>
        </p:nvSpPr>
        <p:spPr>
          <a:xfrm>
            <a:off x="1451898" y="2275655"/>
            <a:ext cx="8856156" cy="50405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correlat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human </a:t>
            </a:r>
            <a:r>
              <a:rPr lang="de-DE" dirty="0" err="1"/>
              <a:t>behavior</a:t>
            </a:r>
            <a:endParaRPr lang="de-DE" dirty="0"/>
          </a:p>
        </p:txBody>
      </p:sp>
      <p:sp>
        <p:nvSpPr>
          <p:cNvPr id="5" name="Pfeil: nach unten 4">
            <a:extLst>
              <a:ext uri="{FF2B5EF4-FFF2-40B4-BE49-F238E27FC236}">
                <a16:creationId xmlns:a16="http://schemas.microsoft.com/office/drawing/2014/main" id="{CC0F0691-5F2F-7C31-395D-5691A72CE7AA}"/>
              </a:ext>
            </a:extLst>
          </p:cNvPr>
          <p:cNvSpPr/>
          <p:nvPr/>
        </p:nvSpPr>
        <p:spPr>
          <a:xfrm>
            <a:off x="5303912" y="2924944"/>
            <a:ext cx="1152128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2928A80-2811-D86C-B12C-69339547B662}"/>
              </a:ext>
            </a:extLst>
          </p:cNvPr>
          <p:cNvSpPr/>
          <p:nvPr/>
        </p:nvSpPr>
        <p:spPr>
          <a:xfrm>
            <a:off x="1451898" y="3933055"/>
            <a:ext cx="8856156" cy="50405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Use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onitor and </a:t>
            </a:r>
            <a:r>
              <a:rPr lang="de-DE" dirty="0" err="1"/>
              <a:t>predict</a:t>
            </a:r>
            <a:r>
              <a:rPr lang="de-DE" dirty="0"/>
              <a:t> power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surges</a:t>
            </a:r>
            <a:r>
              <a:rPr lang="de-DE" dirty="0"/>
              <a:t> 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CF534D2D-A4CD-4287-D137-F255F9D19B01}"/>
              </a:ext>
            </a:extLst>
          </p:cNvPr>
          <p:cNvSpPr/>
          <p:nvPr/>
        </p:nvSpPr>
        <p:spPr>
          <a:xfrm>
            <a:off x="1451898" y="4581128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Social</a:t>
            </a:r>
            <a:r>
              <a:rPr lang="de-DE" dirty="0"/>
              <a:t> Media Data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4B4A983A-C070-2F6B-913B-202656E8313A}"/>
              </a:ext>
            </a:extLst>
          </p:cNvPr>
          <p:cNvSpPr/>
          <p:nvPr/>
        </p:nvSpPr>
        <p:spPr>
          <a:xfrm>
            <a:off x="4511824" y="4581128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Traffic Data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1F97089-E2FE-0221-3C96-01A04AB6D8EA}"/>
              </a:ext>
            </a:extLst>
          </p:cNvPr>
          <p:cNvSpPr/>
          <p:nvPr/>
        </p:nvSpPr>
        <p:spPr>
          <a:xfrm>
            <a:off x="7571750" y="4581127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31845553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06065" cy="838200"/>
          </a:xfrm>
        </p:spPr>
        <p:txBody>
          <a:bodyPr/>
          <a:lstStyle/>
          <a:p>
            <a:r>
              <a:rPr lang="en-US" dirty="0"/>
              <a:t>These Variables could be used to create a monitoring Platform for Panic Buying Behavior for the Power Grid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CF534D2D-A4CD-4287-D137-F255F9D19B01}"/>
              </a:ext>
            </a:extLst>
          </p:cNvPr>
          <p:cNvSpPr/>
          <p:nvPr/>
        </p:nvSpPr>
        <p:spPr>
          <a:xfrm>
            <a:off x="478367" y="3176971"/>
            <a:ext cx="1584176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Social</a:t>
            </a:r>
            <a:r>
              <a:rPr lang="de-DE" dirty="0"/>
              <a:t> Media Data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BB52878-98CB-74CD-4FB5-E394474D0912}"/>
              </a:ext>
            </a:extLst>
          </p:cNvPr>
          <p:cNvSpPr/>
          <p:nvPr/>
        </p:nvSpPr>
        <p:spPr>
          <a:xfrm>
            <a:off x="478367" y="3897051"/>
            <a:ext cx="1584176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….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2872340" y="3284984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cxnSp>
        <p:nvCxnSpPr>
          <p:cNvPr id="13" name="Verbinder: gewinkelt 12">
            <a:extLst>
              <a:ext uri="{FF2B5EF4-FFF2-40B4-BE49-F238E27FC236}">
                <a16:creationId xmlns:a16="http://schemas.microsoft.com/office/drawing/2014/main" id="{DA59E82A-3971-F956-F948-F0580D12FD35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2062543" y="3429000"/>
            <a:ext cx="809797" cy="337847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5388C56D-F778-3637-4BCF-3ED8905BC12B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2062543" y="3766847"/>
            <a:ext cx="809797" cy="382233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447928" y="3284984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023516" y="3284984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ritical</a:t>
            </a:r>
            <a:r>
              <a:rPr lang="de-DE" dirty="0"/>
              <a:t>?</a:t>
            </a:r>
          </a:p>
          <a:p>
            <a:pPr algn="ctr"/>
            <a:r>
              <a:rPr lang="de-DE" dirty="0"/>
              <a:t>Yes/</a:t>
            </a:r>
            <a:r>
              <a:rPr lang="de-DE" dirty="0" err="1"/>
              <a:t>No</a:t>
            </a:r>
            <a:r>
              <a:rPr lang="de-DE" dirty="0"/>
              <a:t> 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104588" y="3766847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7680176" y="3766847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CFC4A4-6FFA-2C26-6B73-A7362350D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for the Master Thesi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5A5F3E2F-2A89-4FC2-F853-26465DF47D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4569214"/>
              </p:ext>
            </p:extLst>
          </p:nvPr>
        </p:nvGraphicFramePr>
        <p:xfrm>
          <a:off x="334963" y="2276871"/>
          <a:ext cx="11522075" cy="2736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387245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r>
              <a:rPr lang="de-DE" dirty="0"/>
              <a:t>Questions?</a:t>
            </a:r>
            <a:br>
              <a:rPr lang="de-DE" dirty="0"/>
            </a:br>
            <a:br>
              <a:rPr lang="de-DE" dirty="0"/>
            </a:br>
            <a:r>
              <a:rPr lang="en-US" dirty="0"/>
              <a:t>Ideas?</a:t>
            </a:r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0CAAC-6B0A-8DDA-B066-313314291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ur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780D47-1953-A6F4-6A5B-C4307B02FA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100" b="0" dirty="0"/>
              <a:t>[1] Fisher, Marc. “Flushing out the true cause of the global toilet paper shortage amid coronavirus pandemic" The Washington Post, https://www.washingtonpost.com/national/coronavirus-toilet-paper-shortage-panic/2020/04/07/1fd30e92-75b5-11ea-87da-77a8136c1a6d_story.html, 2020, accessed on 07/07/2023</a:t>
            </a:r>
          </a:p>
          <a:p>
            <a:r>
              <a:rPr lang="en-US" sz="1100" b="0" dirty="0"/>
              <a:t>[2] </a:t>
            </a:r>
            <a:r>
              <a:rPr lang="en-US" sz="1100" b="0" dirty="0" err="1"/>
              <a:t>Stopera</a:t>
            </a:r>
            <a:r>
              <a:rPr lang="en-US" sz="1100" b="0" dirty="0"/>
              <a:t> , Matt. “14 Tweets That Show What The Coronavirus Toilet Paper Shortage Looks Like In Seattle" Buzzfeed, https://www.buzzfeed.com/mjs538/tweets-that-show-what-the-coronavirus-toilet-paper, 2020, accessed on 07/07/2023</a:t>
            </a:r>
          </a:p>
          <a:p>
            <a:pPr algn="l"/>
            <a:r>
              <a:rPr lang="en-US" sz="1100" b="0" dirty="0"/>
              <a:t>[3] Alan </a:t>
            </a:r>
            <a:r>
              <a:rPr lang="en-US" sz="1100" b="0" dirty="0" err="1"/>
              <a:t>Mislove</a:t>
            </a:r>
            <a:r>
              <a:rPr lang="en-US" sz="1100" b="0" dirty="0"/>
              <a:t> et al. “Measurement and analysis of online social networks”. In: Proceedings of the 7thACM SIGCOMM conference on Internet measurement. 2007, pp. 29–42.</a:t>
            </a:r>
          </a:p>
          <a:p>
            <a:pPr algn="l"/>
            <a:r>
              <a:rPr lang="en-US" sz="1100" b="0" dirty="0"/>
              <a:t>[4] Marcella </a:t>
            </a:r>
            <a:r>
              <a:rPr lang="en-US" sz="1100" b="0" dirty="0" err="1"/>
              <a:t>Tambuscio</a:t>
            </a:r>
            <a:r>
              <a:rPr lang="en-US" sz="1100" b="0" dirty="0"/>
              <a:t> et al. “Fact-checking effect on viral hoaxes: A model of misinformation spreading social networks”. In: Proceedings of the 24th international conference on World Wide Web. 2015,pp. 977–982.</a:t>
            </a:r>
          </a:p>
          <a:p>
            <a:r>
              <a:rPr lang="en-US" sz="1100" b="0" dirty="0"/>
              <a:t>[5] </a:t>
            </a:r>
            <a:r>
              <a:rPr lang="en-US" sz="1100" b="0" dirty="0" err="1"/>
              <a:t>Honigsbaum</a:t>
            </a:r>
            <a:r>
              <a:rPr lang="en-US" sz="1100" b="0" dirty="0"/>
              <a:t>, Mark. "Regulating the 1918–19 pandemic: Flu, stoicism and the Northcliffe press." </a:t>
            </a:r>
            <a:r>
              <a:rPr lang="en-US" sz="1100" b="0" i="1" dirty="0"/>
              <a:t>Medical history</a:t>
            </a:r>
            <a:r>
              <a:rPr lang="en-US" sz="1100" b="0" dirty="0"/>
              <a:t> 57.2 (2013): 165-185.</a:t>
            </a:r>
          </a:p>
          <a:p>
            <a:pPr algn="l"/>
            <a:r>
              <a:rPr lang="en-US" sz="1100" b="0" dirty="0"/>
              <a:t>[6] George, Alice L. </a:t>
            </a:r>
            <a:r>
              <a:rPr lang="en-US" sz="1100" b="0" i="1" dirty="0"/>
              <a:t>Awaiting Armageddon: How Americans Faced the Cuban Missile Crisis</a:t>
            </a:r>
            <a:r>
              <a:rPr lang="en-US" sz="1100" b="0" dirty="0"/>
              <a:t>. UNC Press Books, 2004.</a:t>
            </a:r>
          </a:p>
          <a:p>
            <a:pPr algn="l"/>
            <a:r>
              <a:rPr lang="en-US" sz="1100" b="0" dirty="0"/>
              <a:t>[7] Alvarez, Lizette. “In Florida, Searching for Gas and Water, and Watching Irma." The New York Times, https://www.nytimes.com/2017/09/07/us/florida-irma-hurricane-supplies.html, 2017, accessed on 07/07/2023</a:t>
            </a:r>
          </a:p>
          <a:p>
            <a:pPr algn="l"/>
            <a:endParaRPr lang="en-US" sz="1100" b="0" dirty="0"/>
          </a:p>
          <a:p>
            <a:pPr algn="l"/>
            <a:endParaRPr lang="de-DE" sz="1100" b="0" dirty="0"/>
          </a:p>
        </p:txBody>
      </p:sp>
    </p:spTree>
    <p:extLst>
      <p:ext uri="{BB962C8B-B14F-4D97-AF65-F5344CB8AC3E}">
        <p14:creationId xmlns:p14="http://schemas.microsoft.com/office/powerpoint/2010/main" val="2443730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anic Buying and Overconsumption became a very prominent topic during the COVID-19 Pandemic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37" y="1707190"/>
            <a:ext cx="7806655" cy="4391243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because of an unusual situ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At the start of the lockdowns, the sales of toilet paper and yeast increased greatly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191344" y="5373216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F81F70-C750-3921-7209-BF0F4B0B7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nic </a:t>
            </a:r>
            <a:r>
              <a:rPr lang="de-DE" dirty="0" err="1"/>
              <a:t>Buying</a:t>
            </a:r>
            <a:r>
              <a:rPr lang="de-DE" dirty="0"/>
              <a:t> </a:t>
            </a:r>
            <a:r>
              <a:rPr lang="de-DE" dirty="0" err="1"/>
              <a:t>occured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ndemic</a:t>
            </a:r>
            <a:r>
              <a:rPr lang="de-DE" dirty="0"/>
              <a:t>, </a:t>
            </a:r>
            <a:r>
              <a:rPr lang="de-DE" dirty="0" err="1"/>
              <a:t>too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EA511780-A349-261B-96CE-B2ED2283CD37}"/>
              </a:ext>
            </a:extLst>
          </p:cNvPr>
          <p:cNvSpPr/>
          <p:nvPr/>
        </p:nvSpPr>
        <p:spPr>
          <a:xfrm>
            <a:off x="478367" y="1700808"/>
            <a:ext cx="11162249" cy="208823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sz="1800" b="0" dirty="0"/>
              <a:t>Other </a:t>
            </a:r>
            <a:r>
              <a:rPr lang="de-DE" dirty="0" err="1"/>
              <a:t>i</a:t>
            </a:r>
            <a:r>
              <a:rPr lang="de-DE" sz="1800" b="0" dirty="0" err="1"/>
              <a:t>nstances</a:t>
            </a:r>
            <a:r>
              <a:rPr lang="de-DE" sz="1800" b="0" dirty="0"/>
              <a:t> </a:t>
            </a:r>
            <a:r>
              <a:rPr lang="de-DE" sz="1800" b="0" dirty="0" err="1"/>
              <a:t>of</a:t>
            </a:r>
            <a:r>
              <a:rPr lang="de-DE" sz="1800" b="0" dirty="0"/>
              <a:t> </a:t>
            </a:r>
            <a:r>
              <a:rPr lang="de-DE" sz="1800" b="0" dirty="0" err="1"/>
              <a:t>panic</a:t>
            </a:r>
            <a:r>
              <a:rPr lang="de-DE" sz="1800" b="0" dirty="0"/>
              <a:t> </a:t>
            </a:r>
            <a:r>
              <a:rPr lang="de-DE" dirty="0" err="1"/>
              <a:t>b</a:t>
            </a:r>
            <a:r>
              <a:rPr lang="de-DE" sz="1800" b="0" dirty="0" err="1"/>
              <a:t>uying</a:t>
            </a:r>
            <a:r>
              <a:rPr lang="de-DE" sz="1800" b="0" dirty="0"/>
              <a:t> </a:t>
            </a:r>
            <a:r>
              <a:rPr lang="de-DE" dirty="0" err="1"/>
              <a:t>b</a:t>
            </a:r>
            <a:r>
              <a:rPr lang="de-DE" sz="1800" b="0" dirty="0" err="1"/>
              <a:t>ehavior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The </a:t>
            </a:r>
            <a:r>
              <a:rPr lang="de-DE" sz="1800" b="0" dirty="0" err="1"/>
              <a:t>Spanish</a:t>
            </a:r>
            <a:r>
              <a:rPr lang="de-DE" sz="1800" b="0" dirty="0"/>
              <a:t> Flu,1918: </a:t>
            </a:r>
            <a:r>
              <a:rPr lang="en-US" sz="1800" b="0" dirty="0"/>
              <a:t>rush to buy quinine and other medications [5]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Cuban Missile Crisis, 1962: increased demand for canned foods [6]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Hurricane Irma, 2017: panic buying of fuel, bottled water and other essential goods [7]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Wingdings" panose="05000000000000000000" pitchFamily="2" charset="2"/>
              <a:buChar char="è"/>
            </a:pPr>
            <a:r>
              <a:rPr lang="en-US" sz="1800" b="0" dirty="0">
                <a:sym typeface="Wingdings" panose="05000000000000000000" pitchFamily="2" charset="2"/>
              </a:rPr>
              <a:t>Panic buying is an issue that already exists for a long time!</a:t>
            </a:r>
            <a:endParaRPr lang="de-DE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9ADDA1F-87A6-FFFF-7CB8-B078E4FD0B17}"/>
              </a:ext>
            </a:extLst>
          </p:cNvPr>
          <p:cNvSpPr/>
          <p:nvPr/>
        </p:nvSpPr>
        <p:spPr>
          <a:xfrm>
            <a:off x="478366" y="4653136"/>
            <a:ext cx="11162249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1" dirty="0" err="1"/>
              <a:t>How</a:t>
            </a:r>
            <a:r>
              <a:rPr lang="de-DE" sz="2800" b="1" dirty="0"/>
              <a:t> </a:t>
            </a:r>
            <a:r>
              <a:rPr lang="de-DE" sz="2800" b="1" dirty="0" err="1"/>
              <a:t>would</a:t>
            </a:r>
            <a:r>
              <a:rPr lang="de-DE" sz="2800" b="1" dirty="0"/>
              <a:t> Panic </a:t>
            </a:r>
            <a:r>
              <a:rPr lang="de-DE" sz="2800" b="1" dirty="0" err="1"/>
              <a:t>Buying</a:t>
            </a:r>
            <a:r>
              <a:rPr lang="de-DE" sz="2800" b="1" dirty="0"/>
              <a:t> </a:t>
            </a:r>
            <a:r>
              <a:rPr lang="de-DE" sz="2800" b="1" dirty="0" err="1"/>
              <a:t>Behavior</a:t>
            </a:r>
            <a:r>
              <a:rPr lang="de-DE" sz="2800" b="1" dirty="0"/>
              <a:t> </a:t>
            </a:r>
            <a:r>
              <a:rPr lang="de-DE" sz="2800" b="1" dirty="0" err="1"/>
              <a:t>affect</a:t>
            </a:r>
            <a:r>
              <a:rPr lang="de-DE" sz="2800" b="1" dirty="0"/>
              <a:t> </a:t>
            </a:r>
            <a:r>
              <a:rPr lang="de-DE" sz="2800" b="1" dirty="0" err="1"/>
              <a:t>the</a:t>
            </a:r>
            <a:r>
              <a:rPr lang="de-DE" sz="2800" b="1" dirty="0"/>
              <a:t> Power </a:t>
            </a:r>
            <a:r>
              <a:rPr lang="de-DE" sz="2800" b="1" dirty="0" err="1"/>
              <a:t>Grid</a:t>
            </a:r>
            <a:r>
              <a:rPr lang="de-DE" sz="2800" b="1" dirty="0"/>
              <a:t>?</a:t>
            </a:r>
          </a:p>
        </p:txBody>
      </p:sp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BDEA0C18-DCA2-717E-6161-DEDE36AA015B}"/>
              </a:ext>
            </a:extLst>
          </p:cNvPr>
          <p:cNvSpPr/>
          <p:nvPr/>
        </p:nvSpPr>
        <p:spPr>
          <a:xfrm>
            <a:off x="5519936" y="3861048"/>
            <a:ext cx="1080120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263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3C51BF-52B8-F94F-6759-7D81487AA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722089" cy="838200"/>
          </a:xfrm>
        </p:spPr>
        <p:txBody>
          <a:bodyPr/>
          <a:lstStyle/>
          <a:p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3364D0F-4EEA-BB65-3353-E1AFE0F1C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1651" y="1641029"/>
            <a:ext cx="6495983" cy="23161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B93825C-7CA2-5D79-F7AE-38720D88F4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60" y="1854187"/>
            <a:ext cx="3451610" cy="406322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815A3AA-F7D9-2140-8D93-C24B81B58A53}"/>
              </a:ext>
            </a:extLst>
          </p:cNvPr>
          <p:cNvSpPr txBox="1"/>
          <p:nvPr/>
        </p:nvSpPr>
        <p:spPr>
          <a:xfrm>
            <a:off x="11055533" y="2099641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1]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84AA0F4-4A20-63CB-9402-AADC4D7B1F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5759" y="3957145"/>
            <a:ext cx="4353037" cy="241190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96122549-0C35-88A5-FDEF-40616399C8B2}"/>
              </a:ext>
            </a:extLst>
          </p:cNvPr>
          <p:cNvSpPr txBox="1"/>
          <p:nvPr/>
        </p:nvSpPr>
        <p:spPr>
          <a:xfrm>
            <a:off x="3786970" y="1927621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2]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A2BB971-9290-F6E5-2737-0041A1BC428C}"/>
              </a:ext>
            </a:extLst>
          </p:cNvPr>
          <p:cNvSpPr txBox="1"/>
          <p:nvPr/>
        </p:nvSpPr>
        <p:spPr>
          <a:xfrm>
            <a:off x="8113549" y="4016438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2]</a:t>
            </a:r>
          </a:p>
        </p:txBody>
      </p:sp>
    </p:spTree>
    <p:extLst>
      <p:ext uri="{BB962C8B-B14F-4D97-AF65-F5344CB8AC3E}">
        <p14:creationId xmlns:p14="http://schemas.microsoft.com/office/powerpoint/2010/main" val="2530693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Scenario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  <a:r>
              <a:rPr lang="de-DE" dirty="0" err="1"/>
              <a:t>affe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Grid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3600400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6C34D08-68E8-DA09-5D37-487A27421388}"/>
              </a:ext>
            </a:extLst>
          </p:cNvPr>
          <p:cNvSpPr/>
          <p:nvPr/>
        </p:nvSpPr>
        <p:spPr>
          <a:xfrm>
            <a:off x="4127477" y="1687366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disconnecting all electrical appliances by a specified time.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0E96177-E08D-49E2-7D19-8146A4915A2F}"/>
              </a:ext>
            </a:extLst>
          </p:cNvPr>
          <p:cNvSpPr/>
          <p:nvPr/>
        </p:nvSpPr>
        <p:spPr>
          <a:xfrm>
            <a:off x="407368" y="5805264"/>
            <a:ext cx="11040618" cy="5637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/>
              <a:t>But: other scenarios could be imagined ….</a:t>
            </a:r>
            <a:endParaRPr lang="de-DE" sz="2400" b="1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BE02112-E17B-71A5-F9C3-33532DEA8646}"/>
              </a:ext>
            </a:extLst>
          </p:cNvPr>
          <p:cNvSpPr/>
          <p:nvPr/>
        </p:nvSpPr>
        <p:spPr>
          <a:xfrm>
            <a:off x="7847586" y="1677738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Terrorism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terror attack leads to people leaving the city in masses. But, in order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29546103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alyze the Information Flow in Social Networks and check if it could affect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reate 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Model </a:t>
            </a:r>
            <a:r>
              <a:rPr lang="de-DE" dirty="0" err="1"/>
              <a:t>the</a:t>
            </a:r>
            <a:r>
              <a:rPr lang="de-DE" dirty="0"/>
              <a:t> Information Diffusion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Estimate the excess Power Demand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3557A4AA-52AD-2013-6F04-A7B949C11C36}"/>
              </a:ext>
            </a:extLst>
          </p:cNvPr>
          <p:cNvSpPr/>
          <p:nvPr/>
        </p:nvSpPr>
        <p:spPr>
          <a:xfrm>
            <a:off x="3900262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E22B3B39-7001-DA95-21A1-DF46C34825FA}"/>
              </a:ext>
            </a:extLst>
          </p:cNvPr>
          <p:cNvSpPr/>
          <p:nvPr/>
        </p:nvSpPr>
        <p:spPr>
          <a:xfrm>
            <a:off x="7904548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4171022-80BD-3A61-A6D2-1C4C5F13649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440"/>
          <a:stretch/>
        </p:blipFill>
        <p:spPr>
          <a:xfrm>
            <a:off x="8400256" y="2564905"/>
            <a:ext cx="3354910" cy="2721402"/>
          </a:xfrm>
          <a:prstGeom prst="rect">
            <a:avLst/>
          </a:prstGeom>
        </p:spPr>
      </p:pic>
      <p:pic>
        <p:nvPicPr>
          <p:cNvPr id="3" name="Grafik 2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37358ED2-8133-53D8-E5C9-23E75CC14C5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4185821" y="2270253"/>
            <a:ext cx="3626888" cy="3622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46814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   </a:t>
            </a:r>
            <a:r>
              <a:rPr lang="de-DE" sz="1800" b="0" dirty="0" err="1"/>
              <a:t>Social</a:t>
            </a:r>
            <a:r>
              <a:rPr lang="de-DE" sz="1800" b="0" dirty="0"/>
              <a:t> </a:t>
            </a:r>
            <a:r>
              <a:rPr lang="de-DE" sz="1800" b="0" dirty="0" err="1"/>
              <a:t>media</a:t>
            </a:r>
            <a:r>
              <a:rPr lang="de-DE" sz="1800" b="0" dirty="0"/>
              <a:t> </a:t>
            </a:r>
            <a:r>
              <a:rPr lang="de-DE" sz="1800" b="0" dirty="0" err="1"/>
              <a:t>networks</a:t>
            </a:r>
            <a:r>
              <a:rPr lang="de-DE" sz="1800" b="0" dirty="0"/>
              <a:t> </a:t>
            </a:r>
            <a:r>
              <a:rPr lang="de-DE" sz="1800" b="0" dirty="0" err="1"/>
              <a:t>possess</a:t>
            </a:r>
            <a:r>
              <a:rPr lang="de-DE" sz="1800" b="0" dirty="0"/>
              <a:t> different </a:t>
            </a:r>
            <a:r>
              <a:rPr lang="de-DE" sz="1800" b="0" dirty="0" err="1"/>
              <a:t>characteristics</a:t>
            </a:r>
            <a:r>
              <a:rPr lang="de-DE" sz="1800" b="0" dirty="0"/>
              <a:t> [4]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r>
              <a:rPr lang="de-DE" sz="1800" b="0" dirty="0"/>
              <a:t> </a:t>
            </a:r>
            <a:r>
              <a:rPr lang="de-DE" dirty="0" err="1"/>
              <a:t>c</a:t>
            </a:r>
            <a:r>
              <a:rPr lang="de-DE" sz="1800" b="0" dirty="0" err="1"/>
              <a:t>haracteristic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Models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: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/>
              <a:t>Watts–</a:t>
            </a:r>
            <a:r>
              <a:rPr lang="de-DE" dirty="0" err="1"/>
              <a:t>Strogatz</a:t>
            </a:r>
            <a:r>
              <a:rPr lang="de-DE" dirty="0"/>
              <a:t> </a:t>
            </a:r>
            <a:r>
              <a:rPr lang="de-DE" dirty="0" err="1"/>
              <a:t>model</a:t>
            </a:r>
            <a:endParaRPr lang="de-DE" sz="1800" b="0" dirty="0"/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pic>
        <p:nvPicPr>
          <p:cNvPr id="6" name="Grafik 5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E8B0DE4A-A02D-E83B-259C-FC6C5A3D606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9984432" y="3127236"/>
            <a:ext cx="1477084" cy="1475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</a:t>
            </a:r>
            <a:r>
              <a:rPr lang="en-US" dirty="0" err="1"/>
              <a:t>epidemological</a:t>
            </a:r>
            <a:r>
              <a:rPr lang="en-US" dirty="0"/>
              <a:t> Model is used to model the Information Propagation Proces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C63CEE8-2B4D-5C83-6FEF-77CCBF771A6E}"/>
              </a:ext>
            </a:extLst>
          </p:cNvPr>
          <p:cNvSpPr/>
          <p:nvPr/>
        </p:nvSpPr>
        <p:spPr>
          <a:xfrm>
            <a:off x="478368" y="1546538"/>
            <a:ext cx="8856156" cy="46814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[5]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usceptible</a:t>
            </a:r>
            <a:r>
              <a:rPr lang="de-DE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2">
                    <a:lumMod val="50000"/>
                  </a:schemeClr>
                </a:solidFill>
              </a:rPr>
              <a:t>Recovered</a:t>
            </a:r>
            <a:r>
              <a:rPr lang="de-DE" dirty="0">
                <a:solidFill>
                  <a:schemeClr val="bg2">
                    <a:lumMod val="50000"/>
                  </a:schemeClr>
                </a:solidFill>
              </a:rPr>
              <a:t> (R)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infected </a:t>
            </a:r>
            <a:r>
              <a:rPr lang="en-US" sz="1800" b="0" dirty="0">
                <a:sym typeface="Wingdings" panose="05000000000000000000" pitchFamily="2" charset="2"/>
              </a:rPr>
              <a:t> graph node becomes infected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recovered </a:t>
            </a:r>
            <a:r>
              <a:rPr lang="en-US" sz="1800" b="0" dirty="0">
                <a:sym typeface="Wingdings" panose="05000000000000000000" pitchFamily="2" charset="2"/>
              </a:rPr>
              <a:t> graph node recovers</a:t>
            </a:r>
            <a:endParaRPr lang="en-US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sz="1800" b="0" dirty="0"/>
          </a:p>
          <a:p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BC32B7-73F2-0861-5E00-4728F5B748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pic>
        <p:nvPicPr>
          <p:cNvPr id="7" name="Grafik 6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960195FF-D01E-DA41-B967-BA695245775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9984432" y="3127236"/>
            <a:ext cx="1477084" cy="1475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2943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of a Simulator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0F25529-0DCF-0E5C-80E0-91F2EC0F7A8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19E4895-7403-330F-28C3-460E7CE9D992}"/>
              </a:ext>
            </a:extLst>
          </p:cNvPr>
          <p:cNvSpPr/>
          <p:nvPr/>
        </p:nvSpPr>
        <p:spPr>
          <a:xfrm>
            <a:off x="499161" y="3050404"/>
            <a:ext cx="8856156" cy="17507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b="1" dirty="0"/>
              <a:t>Simulation </a:t>
            </a:r>
            <a:r>
              <a:rPr lang="de-DE" b="1" dirty="0" err="1"/>
              <a:t>Steps</a:t>
            </a:r>
            <a:endParaRPr lang="de-DE" sz="1800" b="1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i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1037250" lvl="1" indent="-40005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dirty="0"/>
              <a:t>Propagate the information in the graph</a:t>
            </a: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551273"/>
            <a:ext cx="8856156" cy="142988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Assumptions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node in the social media graph represents one (physical) household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effect of the information may have a delayed response on the electrical grid</a:t>
            </a:r>
            <a:endParaRPr lang="en-US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499161" y="4870370"/>
            <a:ext cx="8856156" cy="135765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Power Calculation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Each household may have electrical appliances and may activate them based on if they possess the specific appliances</a:t>
            </a:r>
          </a:p>
        </p:txBody>
      </p:sp>
      <p:pic>
        <p:nvPicPr>
          <p:cNvPr id="3" name="Grafik 2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68CE33EA-159D-117B-0B75-C467DB58DDF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9984432" y="3127236"/>
            <a:ext cx="1477084" cy="1475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06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48</Words>
  <Application>Microsoft Office PowerPoint</Application>
  <PresentationFormat>Breitbild</PresentationFormat>
  <Paragraphs>182</Paragraphs>
  <Slides>16</Slides>
  <Notes>3</Notes>
  <HiddenSlides>1</HiddenSlides>
  <MMClips>1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3" baseType="lpstr">
      <vt:lpstr>Bitstream Charter</vt:lpstr>
      <vt:lpstr>Charter</vt:lpstr>
      <vt:lpstr>Stafford</vt:lpstr>
      <vt:lpstr>Arial</vt:lpstr>
      <vt:lpstr>Tahoma</vt:lpstr>
      <vt:lpstr>Wingdings</vt:lpstr>
      <vt:lpstr>Präsentationsvorlage_BWL9</vt:lpstr>
      <vt:lpstr>Modelling and Analysis of Human Behavior Impacts on Energy Systems during Crisis Events</vt:lpstr>
      <vt:lpstr>Panic Buying and Overconsumption became a very prominent topic during the COVID-19 Pandemic</vt:lpstr>
      <vt:lpstr>Panic Buying occured before the Pandemic, too</vt:lpstr>
      <vt:lpstr>Consumption can be affected by Social Media </vt:lpstr>
      <vt:lpstr>A few example Scenarios for changes in Consumption lead by Social Media affecting the Power Grid</vt:lpstr>
      <vt:lpstr>Idea: Analyze the Information Flow in Social Networks and check if it could affect the Power Grid</vt:lpstr>
      <vt:lpstr>The Social Media Network Graph is modelled via Random Graph Algorithms</vt:lpstr>
      <vt:lpstr>An epidemological Model is used to model the Information Propagation Process</vt:lpstr>
      <vt:lpstr>Implementation of a Simulator to analyze the Effects on the Power Grid</vt:lpstr>
      <vt:lpstr>First Look into the Simulator</vt:lpstr>
      <vt:lpstr>The Power Grid can be affected by Human Behavior</vt:lpstr>
      <vt:lpstr>Would it be possible to predict an increased Power Demand based on Real Data?</vt:lpstr>
      <vt:lpstr>These Variables could be used to create a monitoring Platform for Panic Buying Behavior for the Power Grid</vt:lpstr>
      <vt:lpstr>Timeline for the Master Thesis</vt:lpstr>
      <vt:lpstr>Questions?  Ideas?</vt:lpstr>
      <vt:lpstr>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786</cp:revision>
  <cp:lastPrinted>2015-03-31T13:31:38Z</cp:lastPrinted>
  <dcterms:created xsi:type="dcterms:W3CDTF">2009-12-23T09:42:49Z</dcterms:created>
  <dcterms:modified xsi:type="dcterms:W3CDTF">2023-07-19T14:52:30Z</dcterms:modified>
</cp:coreProperties>
</file>